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</p:sldMasterIdLst>
  <p:notesMasterIdLst>
    <p:notesMasterId r:id="rId10"/>
  </p:notesMasterIdLst>
  <p:sldIdLst>
    <p:sldId id="4841" r:id="rId3"/>
    <p:sldId id="8496" r:id="rId4"/>
    <p:sldId id="8497" r:id="rId5"/>
    <p:sldId id="8500" r:id="rId6"/>
    <p:sldId id="8501" r:id="rId7"/>
    <p:sldId id="8502" r:id="rId8"/>
    <p:sldId id="850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98BA26-8090-8DB9-88C3-FB9E0C62D631}" v="126" dt="2024-11-20T12:34:11.1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0" d="100"/>
          <a:sy n="50" d="100"/>
        </p:scale>
        <p:origin x="128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y Polen" userId="S::c.polen@reply.com::83316b64-ae6d-49f3-afe7-b94746e70023" providerId="AD" clId="Web-{0C98BA26-8090-8DB9-88C3-FB9E0C62D631}"/>
    <pc:docChg chg="modSld">
      <pc:chgData name="Cary Polen" userId="S::c.polen@reply.com::83316b64-ae6d-49f3-afe7-b94746e70023" providerId="AD" clId="Web-{0C98BA26-8090-8DB9-88C3-FB9E0C62D631}" dt="2024-11-20T12:34:11.176" v="63" actId="20577"/>
      <pc:docMkLst>
        <pc:docMk/>
      </pc:docMkLst>
      <pc:sldChg chg="modSp">
        <pc:chgData name="Cary Polen" userId="S::c.polen@reply.com::83316b64-ae6d-49f3-afe7-b94746e70023" providerId="AD" clId="Web-{0C98BA26-8090-8DB9-88C3-FB9E0C62D631}" dt="2024-11-20T12:34:11.176" v="63" actId="20577"/>
        <pc:sldMkLst>
          <pc:docMk/>
          <pc:sldMk cId="1869484760" sldId="8503"/>
        </pc:sldMkLst>
        <pc:spChg chg="mod">
          <ac:chgData name="Cary Polen" userId="S::c.polen@reply.com::83316b64-ae6d-49f3-afe7-b94746e70023" providerId="AD" clId="Web-{0C98BA26-8090-8DB9-88C3-FB9E0C62D631}" dt="2024-11-20T12:34:11.176" v="63" actId="20577"/>
          <ac:spMkLst>
            <pc:docMk/>
            <pc:sldMk cId="1869484760" sldId="8503"/>
            <ac:spMk id="3" creationId="{BE51CEA1-1053-741C-3A2D-D314F178CE3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46D7BE-4B6C-4D99-94AC-242769EE60E8}" type="datetimeFigureOut">
              <a:rPr lang="en-IN" smtClean="0"/>
              <a:t>20-11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4B7E1F-B418-444A-AE60-8877286F4C3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6674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DFA88-1A61-46E6-B086-CD77EA707F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30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DFA88-1A61-46E6-B086-CD77EA707F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3502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90151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313EF919-6C28-4E15-BE34-17CBABDC6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57200" y="6134400"/>
            <a:ext cx="561600" cy="5652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noFill/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9479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AD09EFC5-3938-42DF-A7B0-FC5420219D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69904" cy="6858000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62CF11-7B75-4429-9E7C-FAB9A3743280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FC1048-8237-4049-9F8F-92C01D4FE0D0}"/>
              </a:ext>
            </a:extLst>
          </p:cNvPr>
          <p:cNvSpPr txBox="1"/>
          <p:nvPr userDrawn="1"/>
        </p:nvSpPr>
        <p:spPr>
          <a:xfrm flipH="1">
            <a:off x="644550" y="6311542"/>
            <a:ext cx="2708249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l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Valorem Reply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7D20CB3-4B31-4FC3-BC97-AEAC6FC568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07535" y="2062800"/>
            <a:ext cx="2732400" cy="2732400"/>
          </a:xfrm>
          <a:prstGeom prst="ellipse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Arial Black" panose="020B0A04020102020204" pitchFamily="34" charset="0"/>
                <a:cs typeface="+mn-cs"/>
              </a:defRPr>
            </a:lvl1pPr>
          </a:lstStyle>
          <a:p>
            <a:pPr marL="0" lvl="0" algn="ctr" defTabSz="91440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542BDAC-893E-4B2C-A1D4-E2938A369B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98313" y="100807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7869D47D-949C-4859-A22F-E15D8C3898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8313" y="134033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FA150A68-89D3-4280-92B9-DB4942BDAD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98313" y="270352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9DAAAF3-6766-49FE-BA46-261607805F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98313" y="303578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C2D8BDA6-D848-49C9-BFD4-83BCCD7EC3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8313" y="4378943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A38C6934-0C3B-4E2B-A1A0-2688AAA822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98313" y="4711204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961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1257300"/>
            <a:ext cx="5722583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5179247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4D198D-2E6A-4C8F-A8AB-718D119D2B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5911959-C8AD-4717-A43B-D9B6D66428D6}"/>
              </a:ext>
            </a:extLst>
          </p:cNvPr>
          <p:cNvSpPr/>
          <p:nvPr userDrawn="1"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93C2D2-1D47-4F3A-A0E8-AC3CCEBFCB32}"/>
              </a:ext>
            </a:extLst>
          </p:cNvPr>
          <p:cNvSpPr/>
          <p:nvPr userDrawn="1"/>
        </p:nvSpPr>
        <p:spPr>
          <a:xfrm>
            <a:off x="8137002" y="2057400"/>
            <a:ext cx="4054997" cy="4800600"/>
          </a:xfrm>
          <a:prstGeom prst="rect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D6EB07A-99B6-4081-8AA7-9A73E14EA6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59575" y="-1"/>
            <a:ext cx="4038600" cy="5417819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DC860E-C3EF-46BD-BE9C-D8823AB1FD18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3" name="Oval 503">
              <a:extLst>
                <a:ext uri="{FF2B5EF4-FFF2-40B4-BE49-F238E27FC236}">
                  <a16:creationId xmlns:a16="http://schemas.microsoft.com/office/drawing/2014/main" id="{7EBA64E1-164E-462D-B79A-0402CC3D7C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4">
              <a:extLst>
                <a:ext uri="{FF2B5EF4-FFF2-40B4-BE49-F238E27FC236}">
                  <a16:creationId xmlns:a16="http://schemas.microsoft.com/office/drawing/2014/main" id="{44B9419E-5D9A-45E9-BD8D-8F49E654B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505">
              <a:extLst>
                <a:ext uri="{FF2B5EF4-FFF2-40B4-BE49-F238E27FC236}">
                  <a16:creationId xmlns:a16="http://schemas.microsoft.com/office/drawing/2014/main" id="{9A57249D-5D03-4546-B3E0-7072E3B215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6">
              <a:extLst>
                <a:ext uri="{FF2B5EF4-FFF2-40B4-BE49-F238E27FC236}">
                  <a16:creationId xmlns:a16="http://schemas.microsoft.com/office/drawing/2014/main" id="{A2C6F305-9295-4C3A-AE24-DC06BC02A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55132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45D4470-D1EB-4C8D-B20D-E48B62334DC6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42000">
                <a:srgbClr val="006FC6"/>
              </a:gs>
              <a:gs pos="73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643" y="608400"/>
            <a:ext cx="7285496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74E4DA-A80B-4DDF-8D90-F90893783585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865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27FC80-E667-466A-B126-33B8DEA6670A}"/>
              </a:ext>
            </a:extLst>
          </p:cNvPr>
          <p:cNvSpPr/>
          <p:nvPr userDrawn="1"/>
        </p:nvSpPr>
        <p:spPr>
          <a:xfrm>
            <a:off x="8969648" y="0"/>
            <a:ext cx="322235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07F3CB5-708E-4B53-B443-60E68E6C9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64"/>
            <a:ext cx="7869435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677A78-DA1F-44C1-AAFF-B38A1DC12E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768095"/>
            <a:ext cx="5179247" cy="332180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12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4C4B69-CACB-4CBB-A7B0-2E6DE0A2BD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D6D5776-1888-4492-8A62-5A765274D974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0E2BAED4-0C8D-42FC-B2FC-256EA22627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D4A32E27-F1CD-4FB9-8601-F0716D2A8E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505">
              <a:extLst>
                <a:ext uri="{FF2B5EF4-FFF2-40B4-BE49-F238E27FC236}">
                  <a16:creationId xmlns:a16="http://schemas.microsoft.com/office/drawing/2014/main" id="{7789E1EE-B96F-40B4-AA05-6ED539AA59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06">
              <a:extLst>
                <a:ext uri="{FF2B5EF4-FFF2-40B4-BE49-F238E27FC236}">
                  <a16:creationId xmlns:a16="http://schemas.microsoft.com/office/drawing/2014/main" id="{ED004FCA-4CD3-47AB-A10F-68719D97E3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4315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7" y="605657"/>
            <a:ext cx="896274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46506B-2DC2-4B6E-946B-A5B1E7D466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12AEE1A-E784-463D-9CC1-DA65075DCBA3}"/>
              </a:ext>
            </a:extLst>
          </p:cNvPr>
          <p:cNvSpPr/>
          <p:nvPr userDrawn="1"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6E9DC0-88E8-415D-A096-7A5B8538BFFE}"/>
              </a:ext>
            </a:extLst>
          </p:cNvPr>
          <p:cNvSpPr/>
          <p:nvPr userDrawn="1"/>
        </p:nvSpPr>
        <p:spPr>
          <a:xfrm>
            <a:off x="10068560" y="0"/>
            <a:ext cx="2123440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1EDCBB-3F7D-49F8-93D4-4C28469C5007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22CF80B2-E928-4D87-9A6A-72CFBD14E3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4">
              <a:extLst>
                <a:ext uri="{FF2B5EF4-FFF2-40B4-BE49-F238E27FC236}">
                  <a16:creationId xmlns:a16="http://schemas.microsoft.com/office/drawing/2014/main" id="{5FE0F925-D219-4009-A723-502528AAC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505">
              <a:extLst>
                <a:ext uri="{FF2B5EF4-FFF2-40B4-BE49-F238E27FC236}">
                  <a16:creationId xmlns:a16="http://schemas.microsoft.com/office/drawing/2014/main" id="{A9CACEBD-F6CA-4B7B-B935-C4343E6206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6">
              <a:extLst>
                <a:ext uri="{FF2B5EF4-FFF2-40B4-BE49-F238E27FC236}">
                  <a16:creationId xmlns:a16="http://schemas.microsoft.com/office/drawing/2014/main" id="{EC821728-B8A7-416E-B711-43D2C7EBC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674129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52F38">
              <a:alpha val="91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chemeClr val="bg1">
                <a:alpha val="24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4CFC72-4BB3-4A1B-820A-963D9D9E5CE8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9F29494-D650-4E2A-9414-CDF0B79D6479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8327BBF8-361B-4F1E-9607-5ACEDE67DC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17D0B823-75B9-49A2-B5EA-CD22D363B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B6A007B5-7AE5-4877-B926-4C42DEC7B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4F35968B-45E6-4C79-BE43-CB66BBCC2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85604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45850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3BD93-2B70-4CCE-82B4-EE82A6088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4E1D4D-B5CE-4610-BE5A-5E134E91D3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0CFAC-95D6-4B0D-95DF-1321B21EE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3E5F3-28EE-488F-BD53-B744C06C3DEC}" type="datetime1">
              <a:rPr lang="en-US" smtClean="0"/>
              <a:t>11/2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6E823C-1926-4D6C-A48D-9E90B03CB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D6D260-5631-4DFD-8BC6-1D142C6D9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AEF9944-A4F6-4C59-AEBD-678D6480B8EA}" type="slidenum">
              <a:rPr lang="en-US" smtClean="0"/>
              <a:pPr algn="l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4878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/>
              <a:t>TEXT</a:t>
            </a:r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/>
              <a:t>SUBTITLE</a:t>
            </a:r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A60A9D8-26F5-4599-A017-459FBEFADD82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3331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Dark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07C855B-3E54-4195-97AA-FE7037E9B549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2D0ACA56-508D-4360-AA71-81BB609CD244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46FA92-A651-4D5A-8F32-5F6DB4AEA2D9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7CE502-C695-4A79-ABC6-C74F27FA1E7D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rgbClr val="252F38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tx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E6F27E0-CA4D-415D-ACD3-17E9F6F643C9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rgbClr val="38465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A4FC07FB-09B5-4630-900B-ACFB7E7F47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TEXT</a:t>
            </a:r>
            <a:endParaRPr lang="en-US" dirty="0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AC7EE98-ABD9-4E4C-9485-425DAA2A9E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800" kern="1200" spc="0" baseline="0" dirty="0">
                <a:solidFill>
                  <a:srgbClr val="7F9FD4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E8DF795C-5B6D-49CC-90C0-11F21E801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19014906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Dark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07C855B-3E54-4195-97AA-FE7037E9B549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2D0ACA56-508D-4360-AA71-81BB609CD244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  <a:solidFill>
            <a:schemeClr val="bg1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46FA92-A651-4D5A-8F32-5F6DB4AEA2D9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17CE502-C695-4A79-ABC6-C74F27FA1E7D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rgbClr val="252F38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tx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E6F27E0-CA4D-415D-ACD3-17E9F6F643C9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rgbClr val="38465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A4FC07FB-09B5-4630-900B-ACFB7E7F47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/>
              <a:t>TEXT</a:t>
            </a:r>
            <a:endParaRPr lang="en-US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2AC7EE98-ABD9-4E4C-9485-425DAA2A9E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1800" kern="1200" spc="0" baseline="0" dirty="0">
                <a:solidFill>
                  <a:srgbClr val="7F9FD4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/>
              <a:t>SUBTITLE</a:t>
            </a:r>
            <a:endParaRPr lang="en-US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E8DF795C-5B6D-49CC-90C0-11F21E801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1865803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- Photo -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4965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- Photo - Objec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3EC066D-5CF8-445E-BAD4-1C8188605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9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>
              <a:alpha val="90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0EB3D77-B3FC-4409-A248-3D0DE579E3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E386A8B-E2C1-455E-9D1F-369A2F5C7E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328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14251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7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417BFC4-460A-4E4B-8451-F51AA4260C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6400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1456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C1EDC0F4-15C2-4B68-BB57-A0E4B3DCE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59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E1C6625-3090-482B-9A13-CA9BF33AF0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558662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21347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69035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AE5102-FB2D-44E6-9A17-FFAC22AC9532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0" name="Oval 503">
              <a:extLst>
                <a:ext uri="{FF2B5EF4-FFF2-40B4-BE49-F238E27FC236}">
                  <a16:creationId xmlns:a16="http://schemas.microsoft.com/office/drawing/2014/main" id="{8B21FA44-B5BC-4541-82B4-6A3B17ED5F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04">
              <a:extLst>
                <a:ext uri="{FF2B5EF4-FFF2-40B4-BE49-F238E27FC236}">
                  <a16:creationId xmlns:a16="http://schemas.microsoft.com/office/drawing/2014/main" id="{01A2C8FC-7805-48D2-B74A-43DA25FE4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505">
              <a:extLst>
                <a:ext uri="{FF2B5EF4-FFF2-40B4-BE49-F238E27FC236}">
                  <a16:creationId xmlns:a16="http://schemas.microsoft.com/office/drawing/2014/main" id="{0C44E584-70D3-4383-9E45-5968EE9FFE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6">
              <a:extLst>
                <a:ext uri="{FF2B5EF4-FFF2-40B4-BE49-F238E27FC236}">
                  <a16:creationId xmlns:a16="http://schemas.microsoft.com/office/drawing/2014/main" id="{B60A44F4-CB46-40A3-A65C-7C37CE283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99889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AD09EFC5-3938-42DF-A7B0-FC5420219D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69904" cy="6858000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62CF11-7B75-4429-9E7C-FAB9A3743280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FC1048-8237-4049-9F8F-92C01D4FE0D0}"/>
              </a:ext>
            </a:extLst>
          </p:cNvPr>
          <p:cNvSpPr txBox="1"/>
          <p:nvPr userDrawn="1"/>
        </p:nvSpPr>
        <p:spPr>
          <a:xfrm flipH="1">
            <a:off x="644550" y="6311542"/>
            <a:ext cx="2708249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l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Valorem Reply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7D20CB3-4B31-4FC3-BC97-AEAC6FC568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07535" y="2062800"/>
            <a:ext cx="2732400" cy="2732400"/>
          </a:xfrm>
          <a:prstGeom prst="ellipse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2000" dirty="0">
                <a:solidFill>
                  <a:schemeClr val="bg1"/>
                </a:solidFill>
                <a:latin typeface="Arial Black" panose="020B0A04020102020204" pitchFamily="34" charset="0"/>
                <a:cs typeface="+mn-cs"/>
              </a:defRPr>
            </a:lvl1pPr>
          </a:lstStyle>
          <a:p>
            <a:pPr marL="0" lvl="0" algn="ctr" defTabSz="91440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542BDAC-893E-4B2C-A1D4-E2938A369B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98313" y="100807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7869D47D-949C-4859-A22F-E15D8C3898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8313" y="134033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FA150A68-89D3-4280-92B9-DB4942BDAD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98313" y="2703528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9DAAAF3-6766-49FE-BA46-261607805F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98313" y="3035789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C2D8BDA6-D848-49C9-BFD4-83BCCD7EC3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8313" y="4378943"/>
            <a:ext cx="3432175" cy="292645"/>
          </a:xfrm>
        </p:spPr>
        <p:txBody>
          <a:bodyPr tIns="46800" bIns="46800"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A38C6934-0C3B-4E2B-A1A0-2688AAA822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98313" y="4711204"/>
            <a:ext cx="3432175" cy="741600"/>
          </a:xfrm>
        </p:spPr>
        <p:txBody>
          <a:bodyPr tIns="0" bIns="0">
            <a:noAutofit/>
          </a:bodyPr>
          <a:lstStyle>
            <a:lvl1pPr marL="0" indent="0" algn="l" defTabSz="914363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en-US" sz="1100" b="0" kern="1200" cap="none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all" spc="0" baseline="0" dirty="0" smtClean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9120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8530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1257300"/>
            <a:ext cx="5722583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5179247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4D198D-2E6A-4C8F-A8AB-718D119D2B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5911959-C8AD-4717-A43B-D9B6D66428D6}"/>
              </a:ext>
            </a:extLst>
          </p:cNvPr>
          <p:cNvSpPr/>
          <p:nvPr userDrawn="1"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93C2D2-1D47-4F3A-A0E8-AC3CCEBFCB32}"/>
              </a:ext>
            </a:extLst>
          </p:cNvPr>
          <p:cNvSpPr/>
          <p:nvPr userDrawn="1"/>
        </p:nvSpPr>
        <p:spPr>
          <a:xfrm>
            <a:off x="8137002" y="2057400"/>
            <a:ext cx="4054997" cy="4800600"/>
          </a:xfrm>
          <a:prstGeom prst="rect">
            <a:avLst/>
          </a:prstGeom>
          <a:gradFill flip="none" rotWithShape="1">
            <a:gsLst>
              <a:gs pos="42000">
                <a:srgbClr val="006FC6"/>
              </a:gs>
              <a:gs pos="0">
                <a:schemeClr val="accent4">
                  <a:alpha val="91000"/>
                </a:schemeClr>
              </a:gs>
              <a:gs pos="76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D6EB07A-99B6-4081-8AA7-9A73E14EA6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59575" y="-1"/>
            <a:ext cx="4038600" cy="5417819"/>
          </a:xfrm>
          <a:effectLst>
            <a:outerShdw blurRad="241300" sx="102000" sy="102000" algn="ctr" rotWithShape="0">
              <a:prstClr val="black">
                <a:alpha val="35000"/>
              </a:prstClr>
            </a:outerShdw>
          </a:effectLst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DC860E-C3EF-46BD-BE9C-D8823AB1FD18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3" name="Oval 503">
              <a:extLst>
                <a:ext uri="{FF2B5EF4-FFF2-40B4-BE49-F238E27FC236}">
                  <a16:creationId xmlns:a16="http://schemas.microsoft.com/office/drawing/2014/main" id="{7EBA64E1-164E-462D-B79A-0402CC3D7C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4">
              <a:extLst>
                <a:ext uri="{FF2B5EF4-FFF2-40B4-BE49-F238E27FC236}">
                  <a16:creationId xmlns:a16="http://schemas.microsoft.com/office/drawing/2014/main" id="{44B9419E-5D9A-45E9-BD8D-8F49E654B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505">
              <a:extLst>
                <a:ext uri="{FF2B5EF4-FFF2-40B4-BE49-F238E27FC236}">
                  <a16:creationId xmlns:a16="http://schemas.microsoft.com/office/drawing/2014/main" id="{9A57249D-5D03-4546-B3E0-7072E3B215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6">
              <a:extLst>
                <a:ext uri="{FF2B5EF4-FFF2-40B4-BE49-F238E27FC236}">
                  <a16:creationId xmlns:a16="http://schemas.microsoft.com/office/drawing/2014/main" id="{A2C6F305-9295-4C3A-AE24-DC06BC02A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17960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45D4470-D1EB-4C8D-B20D-E48B62334DC6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42000">
                <a:srgbClr val="006FC6"/>
              </a:gs>
              <a:gs pos="73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643" y="608400"/>
            <a:ext cx="7285496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74E4DA-A80B-4DDF-8D90-F90893783585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6330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27FC80-E667-466A-B126-33B8DEA6670A}"/>
              </a:ext>
            </a:extLst>
          </p:cNvPr>
          <p:cNvSpPr/>
          <p:nvPr userDrawn="1"/>
        </p:nvSpPr>
        <p:spPr>
          <a:xfrm>
            <a:off x="8969648" y="0"/>
            <a:ext cx="322235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07F3CB5-708E-4B53-B443-60E68E6C9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64"/>
            <a:ext cx="7869435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677A78-DA1F-44C1-AAFF-B38A1DC12E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768095"/>
            <a:ext cx="5179247" cy="332180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12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D4C4B69-CACB-4CBB-A7B0-2E6DE0A2BD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D6D5776-1888-4492-8A62-5A765274D974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0E2BAED4-0C8D-42FC-B2FC-256EA22627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D4A32E27-F1CD-4FB9-8601-F0716D2A8E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505">
              <a:extLst>
                <a:ext uri="{FF2B5EF4-FFF2-40B4-BE49-F238E27FC236}">
                  <a16:creationId xmlns:a16="http://schemas.microsoft.com/office/drawing/2014/main" id="{7789E1EE-B96F-40B4-AA05-6ED539AA59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06">
              <a:extLst>
                <a:ext uri="{FF2B5EF4-FFF2-40B4-BE49-F238E27FC236}">
                  <a16:creationId xmlns:a16="http://schemas.microsoft.com/office/drawing/2014/main" id="{ED004FCA-4CD3-47AB-A10F-68719D97E3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7103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7" y="605657"/>
            <a:ext cx="896274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46506B-2DC2-4B6E-946B-A5B1E7D466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57491" y="6134099"/>
            <a:ext cx="563179" cy="5631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12AEE1A-E784-463D-9CC1-DA65075DCBA3}"/>
              </a:ext>
            </a:extLst>
          </p:cNvPr>
          <p:cNvSpPr/>
          <p:nvPr userDrawn="1"/>
        </p:nvSpPr>
        <p:spPr>
          <a:xfrm>
            <a:off x="11257491" y="6135678"/>
            <a:ext cx="561600" cy="56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6E9DC0-88E8-415D-A096-7A5B8538BFFE}"/>
              </a:ext>
            </a:extLst>
          </p:cNvPr>
          <p:cNvSpPr/>
          <p:nvPr userDrawn="1"/>
        </p:nvSpPr>
        <p:spPr>
          <a:xfrm>
            <a:off x="10068560" y="0"/>
            <a:ext cx="2123440" cy="685800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1EDCBB-3F7D-49F8-93D4-4C28469C5007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22CF80B2-E928-4D87-9A6A-72CFBD14E3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4">
              <a:extLst>
                <a:ext uri="{FF2B5EF4-FFF2-40B4-BE49-F238E27FC236}">
                  <a16:creationId xmlns:a16="http://schemas.microsoft.com/office/drawing/2014/main" id="{5FE0F925-D219-4009-A723-502528AAC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505">
              <a:extLst>
                <a:ext uri="{FF2B5EF4-FFF2-40B4-BE49-F238E27FC236}">
                  <a16:creationId xmlns:a16="http://schemas.microsoft.com/office/drawing/2014/main" id="{A9CACEBD-F6CA-4B7B-B935-C4343E6206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06">
              <a:extLst>
                <a:ext uri="{FF2B5EF4-FFF2-40B4-BE49-F238E27FC236}">
                  <a16:creationId xmlns:a16="http://schemas.microsoft.com/office/drawing/2014/main" id="{EC821728-B8A7-416E-B711-43D2C7EBC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803106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ard - Photo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52F38">
              <a:alpha val="91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rgbClr val="252F38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chemeClr val="bg1">
                <a:alpha val="24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4CFC72-4BB3-4A1B-820A-963D9D9E5CE8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9F29494-D650-4E2A-9414-CDF0B79D6479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  <a:solidFill>
            <a:schemeClr val="bg1"/>
          </a:solidFill>
        </p:grpSpPr>
        <p:sp>
          <p:nvSpPr>
            <p:cNvPr id="11" name="Oval 503">
              <a:extLst>
                <a:ext uri="{FF2B5EF4-FFF2-40B4-BE49-F238E27FC236}">
                  <a16:creationId xmlns:a16="http://schemas.microsoft.com/office/drawing/2014/main" id="{8327BBF8-361B-4F1E-9607-5ACEDE67DC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4">
              <a:extLst>
                <a:ext uri="{FF2B5EF4-FFF2-40B4-BE49-F238E27FC236}">
                  <a16:creationId xmlns:a16="http://schemas.microsoft.com/office/drawing/2014/main" id="{17D0B823-75B9-49A2-B5EA-CD22D363B5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B6A007B5-7AE5-4877-B926-4C42DEC7B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4F35968B-45E6-4C79-BE43-CB66BBCC2E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30463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Card - Photo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48094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023938" y="6253028"/>
            <a:ext cx="560832" cy="219456"/>
          </a:xfrm>
          <a:prstGeom prst="rect">
            <a:avLst/>
          </a:prstGeom>
        </p:spPr>
        <p:txBody>
          <a:bodyPr lIns="0" tIns="60949" rIns="0" bIns="60949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363"/>
            <a:fld id="{727B4C2D-45E2-4621-8491-2995EB46A674}" type="slidenum">
              <a:rPr lang="en-US" smtClean="0"/>
              <a:pPr defTabSz="91436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8569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3EC066D-5CF8-445E-BAD4-1C8188605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9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52F38">
              <a:alpha val="90000"/>
            </a:srgb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0EB3D77-B3FC-4409-A248-3D0DE579E3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E386A8B-E2C1-455E-9D1F-369A2F5C7E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487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162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7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417BFC4-460A-4E4B-8451-F51AA4260C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6400" y="1916113"/>
            <a:ext cx="4968000" cy="2466001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946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C1EDC0F4-15C2-4B68-BB57-A0E4B3DCE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5659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E1C6625-3090-482B-9A13-CA9BF33AF0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6756" y="1085952"/>
            <a:ext cx="10339200" cy="198131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32100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953C581-66D1-49CD-8706-9DA69EDCD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756" y="6084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984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9468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5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77" imgH="377" progId="TCLayout.ActiveDocument.1">
                  <p:embed/>
                </p:oleObj>
              </mc:Choice>
              <mc:Fallback>
                <p:oleObj name="think-cell Slide" r:id="rId21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16754" y="1268414"/>
            <a:ext cx="10340737" cy="12388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6754" y="611970"/>
            <a:ext cx="10340737" cy="41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93C0B8-42A2-4012-87AC-FC5CCC380071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543C9B1-F37B-4970-8AC8-547CC5442788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6" name="Oval 503">
              <a:extLst>
                <a:ext uri="{FF2B5EF4-FFF2-40B4-BE49-F238E27FC236}">
                  <a16:creationId xmlns:a16="http://schemas.microsoft.com/office/drawing/2014/main" id="{E045B8DF-78E2-49BC-A2EC-F1BB828D86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4">
              <a:extLst>
                <a:ext uri="{FF2B5EF4-FFF2-40B4-BE49-F238E27FC236}">
                  <a16:creationId xmlns:a16="http://schemas.microsoft.com/office/drawing/2014/main" id="{587B8473-884C-4875-A035-59824C0F56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54D4FA4C-5763-480E-AFC5-579E1149D7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3C87B15F-BC12-498B-8868-1A100123B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69377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dt="0"/>
  <p:txStyles>
    <p:titleStyle>
      <a:lvl1pPr marL="0" algn="l" defTabSz="914377" rtl="0" eaLnBrk="1" latinLnBrk="0" hangingPunct="1">
        <a:lnSpc>
          <a:spcPct val="85000"/>
        </a:lnSpc>
        <a:spcBef>
          <a:spcPct val="0"/>
        </a:spcBef>
        <a:buNone/>
        <a:defRPr lang="en-US" sz="2400" b="0" kern="1200" cap="all" spc="0" baseline="0" dirty="0">
          <a:ln w="3175">
            <a:noFill/>
          </a:ln>
          <a:solidFill>
            <a:srgbClr val="252F38"/>
          </a:solidFill>
          <a:effectLst/>
          <a:latin typeface="+mj-lt"/>
          <a:ea typeface="+mn-ea"/>
          <a:cs typeface="+mn-cs"/>
        </a:defRPr>
      </a:lvl1pPr>
    </p:titleStyle>
    <p:bodyStyle>
      <a:lvl1pPr marL="0" marR="0" indent="0" algn="l" defTabSz="914377" rtl="0" eaLnBrk="1" fontAlgn="auto" latinLnBrk="0" hangingPunct="1">
        <a:lnSpc>
          <a:spcPct val="150000"/>
        </a:lnSpc>
        <a:spcBef>
          <a:spcPts val="2400"/>
        </a:spcBef>
        <a:spcAft>
          <a:spcPts val="0"/>
        </a:spcAft>
        <a:buClrTx/>
        <a:buSzPct val="100000"/>
        <a:buFont typeface="Arial" pitchFamily="34" charset="0"/>
        <a:buNone/>
        <a:tabLst/>
        <a:defRPr lang="en-US" sz="1100" kern="1200" cap="none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342900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57466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7985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80008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1036622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12557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2">
          <p15:clr>
            <a:srgbClr val="F26B43"/>
          </p15:clr>
        </p15:guide>
        <p15:guide id="2" pos="576">
          <p15:clr>
            <a:srgbClr val="F26B43"/>
          </p15:clr>
        </p15:guide>
        <p15:guide id="3" pos="7093">
          <p15:clr>
            <a:srgbClr val="F26B43"/>
          </p15:clr>
        </p15:guide>
        <p15:guide id="4" orient="horz" pos="379">
          <p15:clr>
            <a:srgbClr val="F26B43"/>
          </p15:clr>
        </p15:guide>
        <p15:guide id="6" orient="horz" pos="3912">
          <p15:clr>
            <a:srgbClr val="F26B43"/>
          </p15:clr>
        </p15:guide>
        <p15:guide id="7" orient="horz" pos="386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3871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77" imgH="377" progId="TCLayout.ActiveDocument.1">
                  <p:embed/>
                </p:oleObj>
              </mc:Choice>
              <mc:Fallback>
                <p:oleObj name="think-cell Slide" r:id="rId22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606976E-5BD2-4AF4-817F-06F00C5B966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Segoe UI Black" panose="020B0A02040204020203" pitchFamily="34" charset="0"/>
              <a:ea typeface="+mn-ea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16754" y="1268414"/>
            <a:ext cx="10340737" cy="12388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6754" y="611970"/>
            <a:ext cx="10340737" cy="4140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93C0B8-42A2-4012-87AC-FC5CCC380071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543C9B1-F37B-4970-8AC8-547CC5442788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6" name="Oval 503">
              <a:extLst>
                <a:ext uri="{FF2B5EF4-FFF2-40B4-BE49-F238E27FC236}">
                  <a16:creationId xmlns:a16="http://schemas.microsoft.com/office/drawing/2014/main" id="{E045B8DF-78E2-49BC-A2EC-F1BB828D86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04">
              <a:extLst>
                <a:ext uri="{FF2B5EF4-FFF2-40B4-BE49-F238E27FC236}">
                  <a16:creationId xmlns:a16="http://schemas.microsoft.com/office/drawing/2014/main" id="{587B8473-884C-4875-A035-59824C0F56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54D4FA4C-5763-480E-AFC5-579E1149D7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06">
              <a:extLst>
                <a:ext uri="{FF2B5EF4-FFF2-40B4-BE49-F238E27FC236}">
                  <a16:creationId xmlns:a16="http://schemas.microsoft.com/office/drawing/2014/main" id="{3C87B15F-BC12-498B-8868-1A100123B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15130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</p:sldLayoutIdLst>
  <p:hf hdr="0" dt="0"/>
  <p:txStyles>
    <p:titleStyle>
      <a:lvl1pPr marL="0" algn="l" defTabSz="914377" rtl="0" eaLnBrk="1" latinLnBrk="0" hangingPunct="1">
        <a:lnSpc>
          <a:spcPct val="85000"/>
        </a:lnSpc>
        <a:spcBef>
          <a:spcPct val="0"/>
        </a:spcBef>
        <a:buNone/>
        <a:defRPr lang="en-US" sz="2400" b="0" kern="1200" cap="all" spc="0" baseline="0" dirty="0">
          <a:ln w="3175">
            <a:noFill/>
          </a:ln>
          <a:solidFill>
            <a:srgbClr val="252F38"/>
          </a:solidFill>
          <a:effectLst/>
          <a:latin typeface="+mj-lt"/>
          <a:ea typeface="+mn-ea"/>
          <a:cs typeface="+mn-cs"/>
        </a:defRPr>
      </a:lvl1pPr>
    </p:titleStyle>
    <p:bodyStyle>
      <a:lvl1pPr marL="0" marR="0" indent="0" algn="l" defTabSz="914377" rtl="0" eaLnBrk="1" fontAlgn="auto" latinLnBrk="0" hangingPunct="1">
        <a:lnSpc>
          <a:spcPct val="150000"/>
        </a:lnSpc>
        <a:spcBef>
          <a:spcPts val="2400"/>
        </a:spcBef>
        <a:spcAft>
          <a:spcPts val="0"/>
        </a:spcAft>
        <a:buClrTx/>
        <a:buSzPct val="100000"/>
        <a:buFont typeface="Arial" pitchFamily="34" charset="0"/>
        <a:buNone/>
        <a:tabLst/>
        <a:defRPr lang="en-US" sz="1100" kern="1200" cap="none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342900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57466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7985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800089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1036622" marR="0" indent="-342900" algn="l" defTabSz="9143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>
          <a:tab pos="1255713" algn="l"/>
        </a:tabLst>
        <a:defRPr lang="en-US" sz="1100" kern="1200" spc="0" baseline="0" dirty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2">
          <p15:clr>
            <a:srgbClr val="F26B43"/>
          </p15:clr>
        </p15:guide>
        <p15:guide id="2" pos="576">
          <p15:clr>
            <a:srgbClr val="F26B43"/>
          </p15:clr>
        </p15:guide>
        <p15:guide id="3" pos="7093">
          <p15:clr>
            <a:srgbClr val="F26B43"/>
          </p15:clr>
        </p15:guide>
        <p15:guide id="4" orient="horz" pos="379">
          <p15:clr>
            <a:srgbClr val="F26B43"/>
          </p15:clr>
        </p15:guide>
        <p15:guide id="6" orient="horz" pos="3912">
          <p15:clr>
            <a:srgbClr val="F26B43"/>
          </p15:clr>
        </p15:guide>
        <p15:guide id="7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8.jp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microsoft.com/office/2007/relationships/media" Target="../media/media1.m4a"/><Relationship Id="rId7" Type="http://schemas.openxmlformats.org/officeDocument/2006/relationships/oleObject" Target="../embeddings/oleObject5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6.xml"/><Relationship Id="rId4" Type="http://schemas.openxmlformats.org/officeDocument/2006/relationships/audio" Target="../media/media1.m4a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13EA9-159A-4AD7-9FEA-825643FAC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1763" y="2808501"/>
            <a:ext cx="5956916" cy="1219286"/>
          </a:xfrm>
        </p:spPr>
        <p:txBody>
          <a:bodyPr>
            <a:normAutofit/>
          </a:bodyPr>
          <a:lstStyle/>
          <a:p>
            <a:pPr algn="ctr"/>
            <a:r>
              <a:rPr lang="en-US" sz="4000" dirty="0"/>
              <a:t>Load testing </a:t>
            </a:r>
          </a:p>
        </p:txBody>
      </p:sp>
    </p:spTree>
    <p:extLst>
      <p:ext uri="{BB962C8B-B14F-4D97-AF65-F5344CB8AC3E}">
        <p14:creationId xmlns:p14="http://schemas.microsoft.com/office/powerpoint/2010/main" val="315056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8E15A2-39B2-4A11-806D-ECC14E8CC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8E15A2-39B2-4A11-806D-ECC14E8CC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3D7747-FC37-466C-BE98-EF8CFC8C4A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Arial" panose="020B0604020202020204" pitchFamily="34" charset="0"/>
              <a:sym typeface="Segoe UI Black" panose="020B0A02040204020203" pitchFamily="34" charset="0"/>
            </a:endParaRPr>
          </a:p>
        </p:txBody>
      </p:sp>
      <p:pic>
        <p:nvPicPr>
          <p:cNvPr id="27" name="Picture Placeholder 26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D511AD64-3588-4574-ACDA-5EB4C44615A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7"/>
          <a:srcRect t="104" b="104"/>
          <a:stretch>
            <a:fillRect/>
          </a:stretch>
        </p:blipFill>
        <p:spPr/>
      </p:pic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D215B85-3F0E-4321-958C-1F585EE613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EEF4128-4C15-4AA1-B41D-1C327A884A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2617075"/>
            <a:ext cx="5100676" cy="221599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1"/>
                </a:solidFill>
              </a:rPr>
              <a:t>We exist to improve our customers’ business and the community around us. Our brand is synonymous with delivery excellence, dependability, and an employment destination for people that love solving problems.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475AC6C-CB11-42D1-9089-1CC0C0C44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Statement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905C9919-FC10-4F1D-939E-87A7CE7275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17562F-7164-4807-9B6B-FA6D089E2DA9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5" name="Oval 503">
              <a:extLst>
                <a:ext uri="{FF2B5EF4-FFF2-40B4-BE49-F238E27FC236}">
                  <a16:creationId xmlns:a16="http://schemas.microsoft.com/office/drawing/2014/main" id="{C15390E3-0763-4FCF-B332-54AAE51726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504">
              <a:extLst>
                <a:ext uri="{FF2B5EF4-FFF2-40B4-BE49-F238E27FC236}">
                  <a16:creationId xmlns:a16="http://schemas.microsoft.com/office/drawing/2014/main" id="{7CC581C3-0473-4CCC-923E-C98D79B40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505">
              <a:extLst>
                <a:ext uri="{FF2B5EF4-FFF2-40B4-BE49-F238E27FC236}">
                  <a16:creationId xmlns:a16="http://schemas.microsoft.com/office/drawing/2014/main" id="{656B6ADC-2675-457E-94E0-0FA65343D2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506">
              <a:extLst>
                <a:ext uri="{FF2B5EF4-FFF2-40B4-BE49-F238E27FC236}">
                  <a16:creationId xmlns:a16="http://schemas.microsoft.com/office/drawing/2014/main" id="{D83B2126-E155-451E-A1FD-6C10E71CD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18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A059A98C-DBE6-47FF-9507-2CD928D23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A059A98C-DBE6-47FF-9507-2CD928D23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209AA99-3CBF-4C42-B2D5-F4D3B60E41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F8526E-C5E0-4047-8F61-E42264D93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uide</a:t>
            </a:r>
            <a:endParaRPr lang="en-IN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08721-8632-484D-BE2D-B4BA9975D8B3}"/>
              </a:ext>
            </a:extLst>
          </p:cNvPr>
          <p:cNvSpPr txBox="1"/>
          <p:nvPr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303E4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0E799C4-D2BB-49B3-B435-8F1CF6DF968A}"/>
              </a:ext>
            </a:extLst>
          </p:cNvPr>
          <p:cNvSpPr txBox="1">
            <a:spLocks/>
          </p:cNvSpPr>
          <p:nvPr/>
        </p:nvSpPr>
        <p:spPr>
          <a:xfrm>
            <a:off x="3613774" y="1772444"/>
            <a:ext cx="2367925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wn Your Busin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Deliver on your commitments. Accept responsibility to understand, listen and hear others. Take full ownership and respond appropriatel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94009F1-1FD7-4F54-9E63-9B77F44ACDBC}"/>
              </a:ext>
            </a:extLst>
          </p:cNvPr>
          <p:cNvSpPr txBox="1">
            <a:spLocks/>
          </p:cNvSpPr>
          <p:nvPr/>
        </p:nvSpPr>
        <p:spPr>
          <a:xfrm>
            <a:off x="8889560" y="1772444"/>
            <a:ext cx="2350996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 Fully Pres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Create time to connect and engage. Stay focused. Keep distractions out. Critically think about where you spend your time. Be respectfu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C55521D-D940-4F4F-8843-4EF70E927E5B}"/>
              </a:ext>
            </a:extLst>
          </p:cNvPr>
          <p:cNvSpPr txBox="1">
            <a:spLocks/>
          </p:cNvSpPr>
          <p:nvPr/>
        </p:nvSpPr>
        <p:spPr>
          <a:xfrm>
            <a:off x="6251668" y="1772444"/>
            <a:ext cx="2350996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ways On Sta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You are an ambassador.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Be professionals and always ready for the moment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73B5F2E-9E58-4C58-93DE-42FFEF8871EC}"/>
              </a:ext>
            </a:extLst>
          </p:cNvPr>
          <p:cNvGrpSpPr/>
          <p:nvPr/>
        </p:nvGrpSpPr>
        <p:grpSpPr>
          <a:xfrm>
            <a:off x="3613775" y="3641992"/>
            <a:ext cx="245464" cy="328462"/>
            <a:chOff x="3669282" y="5145639"/>
            <a:chExt cx="476032" cy="636989"/>
          </a:xfrm>
          <a:solidFill>
            <a:schemeClr val="accent2"/>
          </a:solidFill>
        </p:grpSpPr>
        <p:sp>
          <p:nvSpPr>
            <p:cNvPr id="48" name="Freeform 62">
              <a:extLst>
                <a:ext uri="{FF2B5EF4-FFF2-40B4-BE49-F238E27FC236}">
                  <a16:creationId xmlns:a16="http://schemas.microsoft.com/office/drawing/2014/main" id="{060ADC25-ACA1-471F-8350-F56A0156F0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9282" y="5145639"/>
              <a:ext cx="476032" cy="636989"/>
            </a:xfrm>
            <a:custGeom>
              <a:avLst/>
              <a:gdLst>
                <a:gd name="T0" fmla="*/ 30 w 619"/>
                <a:gd name="T1" fmla="*/ 826 h 829"/>
                <a:gd name="T2" fmla="*/ 15 w 619"/>
                <a:gd name="T3" fmla="*/ 804 h 829"/>
                <a:gd name="T4" fmla="*/ 102 w 619"/>
                <a:gd name="T5" fmla="*/ 598 h 829"/>
                <a:gd name="T6" fmla="*/ 9 w 619"/>
                <a:gd name="T7" fmla="*/ 294 h 829"/>
                <a:gd name="T8" fmla="*/ 90 w 619"/>
                <a:gd name="T9" fmla="*/ 83 h 829"/>
                <a:gd name="T10" fmla="*/ 538 w 619"/>
                <a:gd name="T11" fmla="*/ 159 h 829"/>
                <a:gd name="T12" fmla="*/ 572 w 619"/>
                <a:gd name="T13" fmla="*/ 259 h 829"/>
                <a:gd name="T14" fmla="*/ 559 w 619"/>
                <a:gd name="T15" fmla="*/ 311 h 829"/>
                <a:gd name="T16" fmla="*/ 585 w 619"/>
                <a:gd name="T17" fmla="*/ 368 h 829"/>
                <a:gd name="T18" fmla="*/ 575 w 619"/>
                <a:gd name="T19" fmla="*/ 466 h 829"/>
                <a:gd name="T20" fmla="*/ 565 w 619"/>
                <a:gd name="T21" fmla="*/ 483 h 829"/>
                <a:gd name="T22" fmla="*/ 563 w 619"/>
                <a:gd name="T23" fmla="*/ 515 h 829"/>
                <a:gd name="T24" fmla="*/ 546 w 619"/>
                <a:gd name="T25" fmla="*/ 542 h 829"/>
                <a:gd name="T26" fmla="*/ 539 w 619"/>
                <a:gd name="T27" fmla="*/ 566 h 829"/>
                <a:gd name="T28" fmla="*/ 516 w 619"/>
                <a:gd name="T29" fmla="*/ 644 h 829"/>
                <a:gd name="T30" fmla="*/ 395 w 619"/>
                <a:gd name="T31" fmla="*/ 647 h 829"/>
                <a:gd name="T32" fmla="*/ 431 w 619"/>
                <a:gd name="T33" fmla="*/ 816 h 829"/>
                <a:gd name="T34" fmla="*/ 274 w 619"/>
                <a:gd name="T35" fmla="*/ 827 h 829"/>
                <a:gd name="T36" fmla="*/ 56 w 619"/>
                <a:gd name="T37" fmla="*/ 794 h 829"/>
                <a:gd name="T38" fmla="*/ 382 w 619"/>
                <a:gd name="T39" fmla="*/ 792 h 829"/>
                <a:gd name="T40" fmla="*/ 439 w 619"/>
                <a:gd name="T41" fmla="*/ 613 h 829"/>
                <a:gd name="T42" fmla="*/ 515 w 619"/>
                <a:gd name="T43" fmla="*/ 605 h 829"/>
                <a:gd name="T44" fmla="*/ 501 w 619"/>
                <a:gd name="T45" fmla="*/ 543 h 829"/>
                <a:gd name="T46" fmla="*/ 524 w 619"/>
                <a:gd name="T47" fmla="*/ 509 h 829"/>
                <a:gd name="T48" fmla="*/ 533 w 619"/>
                <a:gd name="T49" fmla="*/ 491 h 829"/>
                <a:gd name="T50" fmla="*/ 568 w 619"/>
                <a:gd name="T51" fmla="*/ 433 h 829"/>
                <a:gd name="T52" fmla="*/ 557 w 619"/>
                <a:gd name="T53" fmla="*/ 387 h 829"/>
                <a:gd name="T54" fmla="*/ 533 w 619"/>
                <a:gd name="T55" fmla="*/ 290 h 829"/>
                <a:gd name="T56" fmla="*/ 518 w 619"/>
                <a:gd name="T57" fmla="*/ 210 h 829"/>
                <a:gd name="T58" fmla="*/ 277 w 619"/>
                <a:gd name="T59" fmla="*/ 34 h 829"/>
                <a:gd name="T60" fmla="*/ 274 w 619"/>
                <a:gd name="T61" fmla="*/ 34 h 829"/>
                <a:gd name="T62" fmla="*/ 113 w 619"/>
                <a:gd name="T63" fmla="*/ 108 h 829"/>
                <a:gd name="T64" fmla="*/ 98 w 619"/>
                <a:gd name="T65" fmla="*/ 470 h 829"/>
                <a:gd name="T66" fmla="*/ 81 w 619"/>
                <a:gd name="T67" fmla="*/ 748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9" h="829">
                  <a:moveTo>
                    <a:pt x="135" y="829"/>
                  </a:moveTo>
                  <a:cubicBezTo>
                    <a:pt x="94" y="829"/>
                    <a:pt x="57" y="828"/>
                    <a:pt x="30" y="826"/>
                  </a:cubicBezTo>
                  <a:cubicBezTo>
                    <a:pt x="25" y="825"/>
                    <a:pt x="20" y="823"/>
                    <a:pt x="17" y="818"/>
                  </a:cubicBezTo>
                  <a:cubicBezTo>
                    <a:pt x="15" y="814"/>
                    <a:pt x="14" y="809"/>
                    <a:pt x="15" y="804"/>
                  </a:cubicBezTo>
                  <a:cubicBezTo>
                    <a:pt x="24" y="779"/>
                    <a:pt x="38" y="755"/>
                    <a:pt x="53" y="731"/>
                  </a:cubicBezTo>
                  <a:cubicBezTo>
                    <a:pt x="77" y="690"/>
                    <a:pt x="102" y="648"/>
                    <a:pt x="102" y="598"/>
                  </a:cubicBezTo>
                  <a:cubicBezTo>
                    <a:pt x="101" y="561"/>
                    <a:pt x="85" y="525"/>
                    <a:pt x="67" y="484"/>
                  </a:cubicBezTo>
                  <a:cubicBezTo>
                    <a:pt x="45" y="433"/>
                    <a:pt x="19" y="375"/>
                    <a:pt x="9" y="294"/>
                  </a:cubicBezTo>
                  <a:cubicBezTo>
                    <a:pt x="0" y="219"/>
                    <a:pt x="30" y="142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143" y="30"/>
                    <a:pt x="213" y="0"/>
                    <a:pt x="277" y="0"/>
                  </a:cubicBezTo>
                  <a:cubicBezTo>
                    <a:pt x="414" y="2"/>
                    <a:pt x="514" y="84"/>
                    <a:pt x="538" y="159"/>
                  </a:cubicBezTo>
                  <a:cubicBezTo>
                    <a:pt x="548" y="190"/>
                    <a:pt x="550" y="198"/>
                    <a:pt x="551" y="203"/>
                  </a:cubicBezTo>
                  <a:cubicBezTo>
                    <a:pt x="552" y="207"/>
                    <a:pt x="552" y="208"/>
                    <a:pt x="572" y="259"/>
                  </a:cubicBezTo>
                  <a:cubicBezTo>
                    <a:pt x="572" y="261"/>
                    <a:pt x="573" y="262"/>
                    <a:pt x="573" y="263"/>
                  </a:cubicBezTo>
                  <a:cubicBezTo>
                    <a:pt x="576" y="290"/>
                    <a:pt x="566" y="302"/>
                    <a:pt x="559" y="311"/>
                  </a:cubicBezTo>
                  <a:cubicBezTo>
                    <a:pt x="555" y="316"/>
                    <a:pt x="555" y="316"/>
                    <a:pt x="556" y="321"/>
                  </a:cubicBezTo>
                  <a:cubicBezTo>
                    <a:pt x="559" y="331"/>
                    <a:pt x="573" y="351"/>
                    <a:pt x="585" y="368"/>
                  </a:cubicBezTo>
                  <a:cubicBezTo>
                    <a:pt x="604" y="396"/>
                    <a:pt x="616" y="414"/>
                    <a:pt x="617" y="429"/>
                  </a:cubicBezTo>
                  <a:cubicBezTo>
                    <a:pt x="619" y="457"/>
                    <a:pt x="590" y="463"/>
                    <a:pt x="575" y="466"/>
                  </a:cubicBezTo>
                  <a:cubicBezTo>
                    <a:pt x="571" y="467"/>
                    <a:pt x="566" y="468"/>
                    <a:pt x="563" y="469"/>
                  </a:cubicBezTo>
                  <a:cubicBezTo>
                    <a:pt x="563" y="472"/>
                    <a:pt x="564" y="479"/>
                    <a:pt x="565" y="483"/>
                  </a:cubicBezTo>
                  <a:cubicBezTo>
                    <a:pt x="567" y="490"/>
                    <a:pt x="568" y="497"/>
                    <a:pt x="567" y="504"/>
                  </a:cubicBezTo>
                  <a:cubicBezTo>
                    <a:pt x="567" y="509"/>
                    <a:pt x="565" y="512"/>
                    <a:pt x="563" y="515"/>
                  </a:cubicBezTo>
                  <a:cubicBezTo>
                    <a:pt x="563" y="519"/>
                    <a:pt x="564" y="525"/>
                    <a:pt x="559" y="531"/>
                  </a:cubicBezTo>
                  <a:cubicBezTo>
                    <a:pt x="556" y="537"/>
                    <a:pt x="551" y="540"/>
                    <a:pt x="546" y="542"/>
                  </a:cubicBezTo>
                  <a:cubicBezTo>
                    <a:pt x="539" y="546"/>
                    <a:pt x="535" y="548"/>
                    <a:pt x="533" y="553"/>
                  </a:cubicBezTo>
                  <a:cubicBezTo>
                    <a:pt x="534" y="556"/>
                    <a:pt x="537" y="562"/>
                    <a:pt x="539" y="566"/>
                  </a:cubicBezTo>
                  <a:cubicBezTo>
                    <a:pt x="545" y="580"/>
                    <a:pt x="554" y="599"/>
                    <a:pt x="546" y="618"/>
                  </a:cubicBezTo>
                  <a:cubicBezTo>
                    <a:pt x="541" y="630"/>
                    <a:pt x="531" y="638"/>
                    <a:pt x="516" y="644"/>
                  </a:cubicBezTo>
                  <a:cubicBezTo>
                    <a:pt x="488" y="654"/>
                    <a:pt x="458" y="650"/>
                    <a:pt x="434" y="647"/>
                  </a:cubicBezTo>
                  <a:cubicBezTo>
                    <a:pt x="419" y="644"/>
                    <a:pt x="398" y="641"/>
                    <a:pt x="395" y="647"/>
                  </a:cubicBezTo>
                  <a:cubicBezTo>
                    <a:pt x="384" y="669"/>
                    <a:pt x="360" y="714"/>
                    <a:pt x="429" y="799"/>
                  </a:cubicBezTo>
                  <a:cubicBezTo>
                    <a:pt x="433" y="804"/>
                    <a:pt x="434" y="811"/>
                    <a:pt x="431" y="816"/>
                  </a:cubicBezTo>
                  <a:cubicBezTo>
                    <a:pt x="428" y="822"/>
                    <a:pt x="422" y="826"/>
                    <a:pt x="415" y="826"/>
                  </a:cubicBezTo>
                  <a:cubicBezTo>
                    <a:pt x="378" y="825"/>
                    <a:pt x="328" y="826"/>
                    <a:pt x="274" y="827"/>
                  </a:cubicBezTo>
                  <a:cubicBezTo>
                    <a:pt x="227" y="828"/>
                    <a:pt x="178" y="829"/>
                    <a:pt x="135" y="829"/>
                  </a:cubicBezTo>
                  <a:close/>
                  <a:moveTo>
                    <a:pt x="56" y="794"/>
                  </a:moveTo>
                  <a:cubicBezTo>
                    <a:pt x="112" y="796"/>
                    <a:pt x="197" y="795"/>
                    <a:pt x="274" y="794"/>
                  </a:cubicBezTo>
                  <a:cubicBezTo>
                    <a:pt x="313" y="793"/>
                    <a:pt x="350" y="792"/>
                    <a:pt x="382" y="792"/>
                  </a:cubicBezTo>
                  <a:cubicBezTo>
                    <a:pt x="332" y="716"/>
                    <a:pt x="348" y="665"/>
                    <a:pt x="365" y="631"/>
                  </a:cubicBezTo>
                  <a:cubicBezTo>
                    <a:pt x="379" y="605"/>
                    <a:pt x="411" y="609"/>
                    <a:pt x="439" y="613"/>
                  </a:cubicBezTo>
                  <a:cubicBezTo>
                    <a:pt x="460" y="617"/>
                    <a:pt x="485" y="620"/>
                    <a:pt x="504" y="613"/>
                  </a:cubicBezTo>
                  <a:cubicBezTo>
                    <a:pt x="510" y="610"/>
                    <a:pt x="514" y="608"/>
                    <a:pt x="515" y="605"/>
                  </a:cubicBezTo>
                  <a:cubicBezTo>
                    <a:pt x="517" y="600"/>
                    <a:pt x="512" y="588"/>
                    <a:pt x="508" y="580"/>
                  </a:cubicBezTo>
                  <a:cubicBezTo>
                    <a:pt x="503" y="568"/>
                    <a:pt x="497" y="555"/>
                    <a:pt x="501" y="543"/>
                  </a:cubicBezTo>
                  <a:cubicBezTo>
                    <a:pt x="506" y="529"/>
                    <a:pt x="516" y="521"/>
                    <a:pt x="524" y="517"/>
                  </a:cubicBezTo>
                  <a:cubicBezTo>
                    <a:pt x="523" y="513"/>
                    <a:pt x="524" y="511"/>
                    <a:pt x="524" y="509"/>
                  </a:cubicBezTo>
                  <a:cubicBezTo>
                    <a:pt x="526" y="502"/>
                    <a:pt x="531" y="498"/>
                    <a:pt x="534" y="496"/>
                  </a:cubicBezTo>
                  <a:cubicBezTo>
                    <a:pt x="533" y="495"/>
                    <a:pt x="533" y="493"/>
                    <a:pt x="533" y="491"/>
                  </a:cubicBezTo>
                  <a:cubicBezTo>
                    <a:pt x="530" y="479"/>
                    <a:pt x="526" y="462"/>
                    <a:pt x="535" y="449"/>
                  </a:cubicBezTo>
                  <a:cubicBezTo>
                    <a:pt x="542" y="439"/>
                    <a:pt x="555" y="436"/>
                    <a:pt x="568" y="433"/>
                  </a:cubicBezTo>
                  <a:cubicBezTo>
                    <a:pt x="572" y="432"/>
                    <a:pt x="580" y="431"/>
                    <a:pt x="583" y="429"/>
                  </a:cubicBezTo>
                  <a:cubicBezTo>
                    <a:pt x="581" y="420"/>
                    <a:pt x="566" y="400"/>
                    <a:pt x="557" y="387"/>
                  </a:cubicBezTo>
                  <a:cubicBezTo>
                    <a:pt x="542" y="366"/>
                    <a:pt x="528" y="346"/>
                    <a:pt x="524" y="330"/>
                  </a:cubicBezTo>
                  <a:cubicBezTo>
                    <a:pt x="518" y="308"/>
                    <a:pt x="527" y="297"/>
                    <a:pt x="533" y="290"/>
                  </a:cubicBezTo>
                  <a:cubicBezTo>
                    <a:pt x="538" y="284"/>
                    <a:pt x="541" y="280"/>
                    <a:pt x="540" y="269"/>
                  </a:cubicBezTo>
                  <a:cubicBezTo>
                    <a:pt x="520" y="218"/>
                    <a:pt x="520" y="217"/>
                    <a:pt x="518" y="210"/>
                  </a:cubicBezTo>
                  <a:cubicBezTo>
                    <a:pt x="517" y="206"/>
                    <a:pt x="516" y="199"/>
                    <a:pt x="506" y="169"/>
                  </a:cubicBezTo>
                  <a:cubicBezTo>
                    <a:pt x="485" y="104"/>
                    <a:pt x="394" y="36"/>
                    <a:pt x="277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76" y="34"/>
                    <a:pt x="275" y="34"/>
                    <a:pt x="274" y="34"/>
                  </a:cubicBezTo>
                  <a:cubicBezTo>
                    <a:pt x="220" y="34"/>
                    <a:pt x="160" y="61"/>
                    <a:pt x="114" y="107"/>
                  </a:cubicBezTo>
                  <a:cubicBezTo>
                    <a:pt x="113" y="107"/>
                    <a:pt x="113" y="107"/>
                    <a:pt x="113" y="108"/>
                  </a:cubicBezTo>
                  <a:cubicBezTo>
                    <a:pt x="60" y="159"/>
                    <a:pt x="35" y="226"/>
                    <a:pt x="43" y="290"/>
                  </a:cubicBezTo>
                  <a:cubicBezTo>
                    <a:pt x="52" y="366"/>
                    <a:pt x="76" y="421"/>
                    <a:pt x="98" y="470"/>
                  </a:cubicBezTo>
                  <a:cubicBezTo>
                    <a:pt x="118" y="515"/>
                    <a:pt x="135" y="554"/>
                    <a:pt x="135" y="598"/>
                  </a:cubicBezTo>
                  <a:cubicBezTo>
                    <a:pt x="136" y="658"/>
                    <a:pt x="107" y="706"/>
                    <a:pt x="81" y="748"/>
                  </a:cubicBezTo>
                  <a:cubicBezTo>
                    <a:pt x="72" y="764"/>
                    <a:pt x="63" y="779"/>
                    <a:pt x="56" y="7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624CE77-E3A7-4075-B776-318331ED4D02}"/>
                </a:ext>
              </a:extLst>
            </p:cNvPr>
            <p:cNvGrpSpPr/>
            <p:nvPr/>
          </p:nvGrpSpPr>
          <p:grpSpPr>
            <a:xfrm>
              <a:off x="3794725" y="5194838"/>
              <a:ext cx="152161" cy="224494"/>
              <a:chOff x="3794725" y="5194838"/>
              <a:chExt cx="152161" cy="224494"/>
            </a:xfrm>
            <a:grpFill/>
          </p:grpSpPr>
          <p:sp>
            <p:nvSpPr>
              <p:cNvPr id="51" name="Freeform 194">
                <a:extLst>
                  <a:ext uri="{FF2B5EF4-FFF2-40B4-BE49-F238E27FC236}">
                    <a16:creationId xmlns:a16="http://schemas.microsoft.com/office/drawing/2014/main" id="{BC3601B5-4759-467C-BFB4-04CDDBBE31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4725" y="5194838"/>
                <a:ext cx="152161" cy="175294"/>
              </a:xfrm>
              <a:custGeom>
                <a:avLst/>
                <a:gdLst>
                  <a:gd name="T0" fmla="*/ 108 w 198"/>
                  <a:gd name="T1" fmla="*/ 228 h 228"/>
                  <a:gd name="T2" fmla="*/ 60 w 198"/>
                  <a:gd name="T3" fmla="*/ 228 h 228"/>
                  <a:gd name="T4" fmla="*/ 40 w 198"/>
                  <a:gd name="T5" fmla="*/ 198 h 228"/>
                  <a:gd name="T6" fmla="*/ 40 w 198"/>
                  <a:gd name="T7" fmla="*/ 193 h 228"/>
                  <a:gd name="T8" fmla="*/ 37 w 198"/>
                  <a:gd name="T9" fmla="*/ 178 h 228"/>
                  <a:gd name="T10" fmla="*/ 32 w 198"/>
                  <a:gd name="T11" fmla="*/ 164 h 228"/>
                  <a:gd name="T12" fmla="*/ 20 w 198"/>
                  <a:gd name="T13" fmla="*/ 144 h 228"/>
                  <a:gd name="T14" fmla="*/ 1 w 198"/>
                  <a:gd name="T15" fmla="*/ 91 h 228"/>
                  <a:gd name="T16" fmla="*/ 29 w 198"/>
                  <a:gd name="T17" fmla="*/ 28 h 228"/>
                  <a:gd name="T18" fmla="*/ 99 w 198"/>
                  <a:gd name="T19" fmla="*/ 0 h 228"/>
                  <a:gd name="T20" fmla="*/ 102 w 198"/>
                  <a:gd name="T21" fmla="*/ 0 h 228"/>
                  <a:gd name="T22" fmla="*/ 197 w 198"/>
                  <a:gd name="T23" fmla="*/ 95 h 228"/>
                  <a:gd name="T24" fmla="*/ 180 w 198"/>
                  <a:gd name="T25" fmla="*/ 141 h 228"/>
                  <a:gd name="T26" fmla="*/ 175 w 198"/>
                  <a:gd name="T27" fmla="*/ 147 h 228"/>
                  <a:gd name="T28" fmla="*/ 164 w 198"/>
                  <a:gd name="T29" fmla="*/ 166 h 228"/>
                  <a:gd name="T30" fmla="*/ 155 w 198"/>
                  <a:gd name="T31" fmla="*/ 194 h 228"/>
                  <a:gd name="T32" fmla="*/ 155 w 198"/>
                  <a:gd name="T33" fmla="*/ 196 h 228"/>
                  <a:gd name="T34" fmla="*/ 139 w 198"/>
                  <a:gd name="T35" fmla="*/ 226 h 228"/>
                  <a:gd name="T36" fmla="*/ 134 w 198"/>
                  <a:gd name="T37" fmla="*/ 228 h 228"/>
                  <a:gd name="T38" fmla="*/ 108 w 198"/>
                  <a:gd name="T39" fmla="*/ 228 h 228"/>
                  <a:gd name="T40" fmla="*/ 134 w 198"/>
                  <a:gd name="T41" fmla="*/ 218 h 228"/>
                  <a:gd name="T42" fmla="*/ 134 w 198"/>
                  <a:gd name="T43" fmla="*/ 218 h 228"/>
                  <a:gd name="T44" fmla="*/ 61 w 198"/>
                  <a:gd name="T45" fmla="*/ 208 h 228"/>
                  <a:gd name="T46" fmla="*/ 130 w 198"/>
                  <a:gd name="T47" fmla="*/ 208 h 228"/>
                  <a:gd name="T48" fmla="*/ 136 w 198"/>
                  <a:gd name="T49" fmla="*/ 193 h 228"/>
                  <a:gd name="T50" fmla="*/ 136 w 198"/>
                  <a:gd name="T51" fmla="*/ 191 h 228"/>
                  <a:gd name="T52" fmla="*/ 146 w 198"/>
                  <a:gd name="T53" fmla="*/ 157 h 228"/>
                  <a:gd name="T54" fmla="*/ 159 w 198"/>
                  <a:gd name="T55" fmla="*/ 136 h 228"/>
                  <a:gd name="T56" fmla="*/ 163 w 198"/>
                  <a:gd name="T57" fmla="*/ 130 h 228"/>
                  <a:gd name="T58" fmla="*/ 178 w 198"/>
                  <a:gd name="T59" fmla="*/ 94 h 228"/>
                  <a:gd name="T60" fmla="*/ 100 w 198"/>
                  <a:gd name="T61" fmla="*/ 19 h 228"/>
                  <a:gd name="T62" fmla="*/ 99 w 198"/>
                  <a:gd name="T63" fmla="*/ 19 h 228"/>
                  <a:gd name="T64" fmla="*/ 99 w 198"/>
                  <a:gd name="T65" fmla="*/ 19 h 228"/>
                  <a:gd name="T66" fmla="*/ 42 w 198"/>
                  <a:gd name="T67" fmla="*/ 42 h 228"/>
                  <a:gd name="T68" fmla="*/ 20 w 198"/>
                  <a:gd name="T69" fmla="*/ 92 h 228"/>
                  <a:gd name="T70" fmla="*/ 37 w 198"/>
                  <a:gd name="T71" fmla="*/ 133 h 228"/>
                  <a:gd name="T72" fmla="*/ 49 w 198"/>
                  <a:gd name="T73" fmla="*/ 156 h 228"/>
                  <a:gd name="T74" fmla="*/ 56 w 198"/>
                  <a:gd name="T75" fmla="*/ 173 h 228"/>
                  <a:gd name="T76" fmla="*/ 59 w 198"/>
                  <a:gd name="T77" fmla="*/ 191 h 228"/>
                  <a:gd name="T78" fmla="*/ 59 w 198"/>
                  <a:gd name="T79" fmla="*/ 197 h 228"/>
                  <a:gd name="T80" fmla="*/ 61 w 198"/>
                  <a:gd name="T81" fmla="*/ 208 h 228"/>
                  <a:gd name="T82" fmla="*/ 45 w 198"/>
                  <a:gd name="T83" fmla="*/ 119 h 228"/>
                  <a:gd name="T84" fmla="*/ 36 w 198"/>
                  <a:gd name="T85" fmla="*/ 111 h 228"/>
                  <a:gd name="T86" fmla="*/ 76 w 198"/>
                  <a:gd name="T87" fmla="*/ 41 h 228"/>
                  <a:gd name="T88" fmla="*/ 87 w 198"/>
                  <a:gd name="T89" fmla="*/ 47 h 228"/>
                  <a:gd name="T90" fmla="*/ 81 w 198"/>
                  <a:gd name="T91" fmla="*/ 59 h 228"/>
                  <a:gd name="T92" fmla="*/ 54 w 198"/>
                  <a:gd name="T93" fmla="*/ 107 h 228"/>
                  <a:gd name="T94" fmla="*/ 47 w 198"/>
                  <a:gd name="T95" fmla="*/ 118 h 228"/>
                  <a:gd name="T96" fmla="*/ 45 w 198"/>
                  <a:gd name="T97" fmla="*/ 119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8" h="228">
                    <a:moveTo>
                      <a:pt x="108" y="228"/>
                    </a:moveTo>
                    <a:cubicBezTo>
                      <a:pt x="97" y="228"/>
                      <a:pt x="81" y="228"/>
                      <a:pt x="60" y="228"/>
                    </a:cubicBezTo>
                    <a:cubicBezTo>
                      <a:pt x="42" y="227"/>
                      <a:pt x="41" y="208"/>
                      <a:pt x="40" y="198"/>
                    </a:cubicBezTo>
                    <a:cubicBezTo>
                      <a:pt x="40" y="197"/>
                      <a:pt x="40" y="195"/>
                      <a:pt x="40" y="193"/>
                    </a:cubicBezTo>
                    <a:cubicBezTo>
                      <a:pt x="39" y="188"/>
                      <a:pt x="38" y="183"/>
                      <a:pt x="37" y="178"/>
                    </a:cubicBezTo>
                    <a:cubicBezTo>
                      <a:pt x="36" y="174"/>
                      <a:pt x="34" y="169"/>
                      <a:pt x="32" y="164"/>
                    </a:cubicBezTo>
                    <a:cubicBezTo>
                      <a:pt x="29" y="157"/>
                      <a:pt x="24" y="150"/>
                      <a:pt x="20" y="144"/>
                    </a:cubicBezTo>
                    <a:cubicBezTo>
                      <a:pt x="10" y="128"/>
                      <a:pt x="0" y="112"/>
                      <a:pt x="1" y="91"/>
                    </a:cubicBezTo>
                    <a:cubicBezTo>
                      <a:pt x="1" y="67"/>
                      <a:pt x="11" y="45"/>
                      <a:pt x="29" y="28"/>
                    </a:cubicBezTo>
                    <a:cubicBezTo>
                      <a:pt x="47" y="10"/>
                      <a:pt x="73" y="0"/>
                      <a:pt x="99" y="0"/>
                    </a:cubicBezTo>
                    <a:cubicBezTo>
                      <a:pt x="100" y="0"/>
                      <a:pt x="101" y="0"/>
                      <a:pt x="102" y="0"/>
                    </a:cubicBezTo>
                    <a:cubicBezTo>
                      <a:pt x="155" y="1"/>
                      <a:pt x="198" y="44"/>
                      <a:pt x="197" y="95"/>
                    </a:cubicBezTo>
                    <a:cubicBezTo>
                      <a:pt x="197" y="113"/>
                      <a:pt x="188" y="128"/>
                      <a:pt x="180" y="141"/>
                    </a:cubicBezTo>
                    <a:cubicBezTo>
                      <a:pt x="178" y="143"/>
                      <a:pt x="177" y="145"/>
                      <a:pt x="175" y="147"/>
                    </a:cubicBezTo>
                    <a:cubicBezTo>
                      <a:pt x="171" y="154"/>
                      <a:pt x="167" y="160"/>
                      <a:pt x="164" y="166"/>
                    </a:cubicBezTo>
                    <a:cubicBezTo>
                      <a:pt x="158" y="178"/>
                      <a:pt x="156" y="186"/>
                      <a:pt x="155" y="194"/>
                    </a:cubicBezTo>
                    <a:cubicBezTo>
                      <a:pt x="155" y="196"/>
                      <a:pt x="155" y="196"/>
                      <a:pt x="155" y="196"/>
                    </a:cubicBezTo>
                    <a:cubicBezTo>
                      <a:pt x="153" y="206"/>
                      <a:pt x="151" y="218"/>
                      <a:pt x="139" y="226"/>
                    </a:cubicBezTo>
                    <a:cubicBezTo>
                      <a:pt x="138" y="227"/>
                      <a:pt x="136" y="227"/>
                      <a:pt x="134" y="228"/>
                    </a:cubicBezTo>
                    <a:cubicBezTo>
                      <a:pt x="134" y="228"/>
                      <a:pt x="129" y="228"/>
                      <a:pt x="108" y="228"/>
                    </a:cubicBezTo>
                    <a:close/>
                    <a:moveTo>
                      <a:pt x="134" y="218"/>
                    </a:moveTo>
                    <a:cubicBezTo>
                      <a:pt x="134" y="218"/>
                      <a:pt x="134" y="218"/>
                      <a:pt x="134" y="218"/>
                    </a:cubicBezTo>
                    <a:close/>
                    <a:moveTo>
                      <a:pt x="61" y="208"/>
                    </a:moveTo>
                    <a:cubicBezTo>
                      <a:pt x="107" y="209"/>
                      <a:pt x="124" y="208"/>
                      <a:pt x="130" y="208"/>
                    </a:cubicBezTo>
                    <a:cubicBezTo>
                      <a:pt x="134" y="205"/>
                      <a:pt x="134" y="201"/>
                      <a:pt x="136" y="193"/>
                    </a:cubicBezTo>
                    <a:cubicBezTo>
                      <a:pt x="136" y="191"/>
                      <a:pt x="136" y="191"/>
                      <a:pt x="136" y="191"/>
                    </a:cubicBezTo>
                    <a:cubicBezTo>
                      <a:pt x="137" y="182"/>
                      <a:pt x="139" y="172"/>
                      <a:pt x="146" y="157"/>
                    </a:cubicBezTo>
                    <a:cubicBezTo>
                      <a:pt x="150" y="150"/>
                      <a:pt x="155" y="143"/>
                      <a:pt x="159" y="136"/>
                    </a:cubicBezTo>
                    <a:cubicBezTo>
                      <a:pt x="161" y="134"/>
                      <a:pt x="162" y="132"/>
                      <a:pt x="163" y="130"/>
                    </a:cubicBezTo>
                    <a:cubicBezTo>
                      <a:pt x="172" y="117"/>
                      <a:pt x="177" y="107"/>
                      <a:pt x="178" y="94"/>
                    </a:cubicBezTo>
                    <a:cubicBezTo>
                      <a:pt x="178" y="54"/>
                      <a:pt x="143" y="20"/>
                      <a:pt x="100" y="19"/>
                    </a:cubicBezTo>
                    <a:cubicBezTo>
                      <a:pt x="100" y="19"/>
                      <a:pt x="100" y="19"/>
                      <a:pt x="99" y="19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78" y="19"/>
                      <a:pt x="57" y="27"/>
                      <a:pt x="42" y="42"/>
                    </a:cubicBezTo>
                    <a:cubicBezTo>
                      <a:pt x="28" y="55"/>
                      <a:pt x="20" y="73"/>
                      <a:pt x="20" y="92"/>
                    </a:cubicBezTo>
                    <a:cubicBezTo>
                      <a:pt x="20" y="107"/>
                      <a:pt x="28" y="120"/>
                      <a:pt x="37" y="133"/>
                    </a:cubicBezTo>
                    <a:cubicBezTo>
                      <a:pt x="41" y="140"/>
                      <a:pt x="46" y="148"/>
                      <a:pt x="49" y="156"/>
                    </a:cubicBezTo>
                    <a:cubicBezTo>
                      <a:pt x="52" y="162"/>
                      <a:pt x="54" y="168"/>
                      <a:pt x="56" y="173"/>
                    </a:cubicBezTo>
                    <a:cubicBezTo>
                      <a:pt x="58" y="180"/>
                      <a:pt x="58" y="186"/>
                      <a:pt x="59" y="191"/>
                    </a:cubicBezTo>
                    <a:cubicBezTo>
                      <a:pt x="59" y="193"/>
                      <a:pt x="59" y="195"/>
                      <a:pt x="59" y="197"/>
                    </a:cubicBezTo>
                    <a:cubicBezTo>
                      <a:pt x="59" y="200"/>
                      <a:pt x="60" y="206"/>
                      <a:pt x="61" y="208"/>
                    </a:cubicBezTo>
                    <a:close/>
                    <a:moveTo>
                      <a:pt x="45" y="119"/>
                    </a:moveTo>
                    <a:cubicBezTo>
                      <a:pt x="41" y="119"/>
                      <a:pt x="37" y="116"/>
                      <a:pt x="36" y="111"/>
                    </a:cubicBezTo>
                    <a:cubicBezTo>
                      <a:pt x="26" y="71"/>
                      <a:pt x="57" y="46"/>
                      <a:pt x="76" y="41"/>
                    </a:cubicBezTo>
                    <a:cubicBezTo>
                      <a:pt x="81" y="39"/>
                      <a:pt x="86" y="42"/>
                      <a:pt x="87" y="47"/>
                    </a:cubicBezTo>
                    <a:cubicBezTo>
                      <a:pt x="89" y="53"/>
                      <a:pt x="86" y="58"/>
                      <a:pt x="81" y="59"/>
                    </a:cubicBezTo>
                    <a:cubicBezTo>
                      <a:pt x="75" y="61"/>
                      <a:pt x="47" y="75"/>
                      <a:pt x="54" y="107"/>
                    </a:cubicBezTo>
                    <a:cubicBezTo>
                      <a:pt x="56" y="112"/>
                      <a:pt x="52" y="117"/>
                      <a:pt x="47" y="118"/>
                    </a:cubicBezTo>
                    <a:cubicBezTo>
                      <a:pt x="46" y="119"/>
                      <a:pt x="46" y="119"/>
                      <a:pt x="45" y="1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" name="Freeform 196">
                <a:extLst>
                  <a:ext uri="{FF2B5EF4-FFF2-40B4-BE49-F238E27FC236}">
                    <a16:creationId xmlns:a16="http://schemas.microsoft.com/office/drawing/2014/main" id="{5D9CA2B1-0778-4E0C-99E2-4684170D3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892" y="5370784"/>
                <a:ext cx="76243" cy="14662"/>
              </a:xfrm>
              <a:custGeom>
                <a:avLst/>
                <a:gdLst>
                  <a:gd name="T0" fmla="*/ 89 w 99"/>
                  <a:gd name="T1" fmla="*/ 19 h 19"/>
                  <a:gd name="T2" fmla="*/ 10 w 99"/>
                  <a:gd name="T3" fmla="*/ 19 h 19"/>
                  <a:gd name="T4" fmla="*/ 0 w 99"/>
                  <a:gd name="T5" fmla="*/ 10 h 19"/>
                  <a:gd name="T6" fmla="*/ 10 w 99"/>
                  <a:gd name="T7" fmla="*/ 0 h 19"/>
                  <a:gd name="T8" fmla="*/ 89 w 99"/>
                  <a:gd name="T9" fmla="*/ 0 h 19"/>
                  <a:gd name="T10" fmla="*/ 99 w 99"/>
                  <a:gd name="T11" fmla="*/ 10 h 19"/>
                  <a:gd name="T12" fmla="*/ 89 w 99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19">
                    <a:moveTo>
                      <a:pt x="89" y="19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5" y="0"/>
                      <a:pt x="99" y="4"/>
                      <a:pt x="99" y="10"/>
                    </a:cubicBezTo>
                    <a:cubicBezTo>
                      <a:pt x="99" y="15"/>
                      <a:pt x="95" y="19"/>
                      <a:pt x="89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" name="Freeform 66">
                <a:extLst>
                  <a:ext uri="{FF2B5EF4-FFF2-40B4-BE49-F238E27FC236}">
                    <a16:creationId xmlns:a16="http://schemas.microsoft.com/office/drawing/2014/main" id="{19345487-836C-4C18-ABC1-15C5C2E31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824" y="5387727"/>
                <a:ext cx="67120" cy="14662"/>
              </a:xfrm>
              <a:custGeom>
                <a:avLst/>
                <a:gdLst>
                  <a:gd name="T0" fmla="*/ 77 w 87"/>
                  <a:gd name="T1" fmla="*/ 19 h 19"/>
                  <a:gd name="T2" fmla="*/ 10 w 87"/>
                  <a:gd name="T3" fmla="*/ 19 h 19"/>
                  <a:gd name="T4" fmla="*/ 0 w 87"/>
                  <a:gd name="T5" fmla="*/ 9 h 19"/>
                  <a:gd name="T6" fmla="*/ 10 w 87"/>
                  <a:gd name="T7" fmla="*/ 0 h 19"/>
                  <a:gd name="T8" fmla="*/ 77 w 87"/>
                  <a:gd name="T9" fmla="*/ 0 h 19"/>
                  <a:gd name="T10" fmla="*/ 87 w 87"/>
                  <a:gd name="T11" fmla="*/ 9 h 19"/>
                  <a:gd name="T12" fmla="*/ 77 w 87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9">
                    <a:moveTo>
                      <a:pt x="77" y="19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4" y="19"/>
                      <a:pt x="0" y="15"/>
                      <a:pt x="0" y="9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2" y="0"/>
                      <a:pt x="87" y="4"/>
                      <a:pt x="87" y="9"/>
                    </a:cubicBezTo>
                    <a:cubicBezTo>
                      <a:pt x="87" y="15"/>
                      <a:pt x="82" y="19"/>
                      <a:pt x="77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" name="Freeform 67">
                <a:extLst>
                  <a:ext uri="{FF2B5EF4-FFF2-40B4-BE49-F238E27FC236}">
                    <a16:creationId xmlns:a16="http://schemas.microsoft.com/office/drawing/2014/main" id="{92F3454E-8BCF-4401-8F4A-2147528CD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5554" y="5404018"/>
                <a:ext cx="43661" cy="15314"/>
              </a:xfrm>
              <a:custGeom>
                <a:avLst/>
                <a:gdLst>
                  <a:gd name="T0" fmla="*/ 47 w 57"/>
                  <a:gd name="T1" fmla="*/ 20 h 20"/>
                  <a:gd name="T2" fmla="*/ 10 w 57"/>
                  <a:gd name="T3" fmla="*/ 20 h 20"/>
                  <a:gd name="T4" fmla="*/ 0 w 57"/>
                  <a:gd name="T5" fmla="*/ 10 h 20"/>
                  <a:gd name="T6" fmla="*/ 10 w 57"/>
                  <a:gd name="T7" fmla="*/ 0 h 20"/>
                  <a:gd name="T8" fmla="*/ 47 w 57"/>
                  <a:gd name="T9" fmla="*/ 0 h 20"/>
                  <a:gd name="T10" fmla="*/ 57 w 57"/>
                  <a:gd name="T11" fmla="*/ 10 h 20"/>
                  <a:gd name="T12" fmla="*/ 47 w 57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20">
                    <a:moveTo>
                      <a:pt x="47" y="20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4" y="20"/>
                      <a:pt x="0" y="15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52" y="0"/>
                      <a:pt x="57" y="5"/>
                      <a:pt x="57" y="10"/>
                    </a:cubicBezTo>
                    <a:cubicBezTo>
                      <a:pt x="57" y="15"/>
                      <a:pt x="52" y="20"/>
                      <a:pt x="47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7" name="Freeform 40">
            <a:extLst>
              <a:ext uri="{FF2B5EF4-FFF2-40B4-BE49-F238E27FC236}">
                <a16:creationId xmlns:a16="http://schemas.microsoft.com/office/drawing/2014/main" id="{C6EF9058-AED0-4324-A018-23C6BF6BAFBF}"/>
              </a:ext>
            </a:extLst>
          </p:cNvPr>
          <p:cNvSpPr>
            <a:spLocks noEditPoints="1"/>
          </p:cNvSpPr>
          <p:nvPr/>
        </p:nvSpPr>
        <p:spPr bwMode="auto">
          <a:xfrm>
            <a:off x="6251668" y="3633505"/>
            <a:ext cx="281556" cy="336948"/>
          </a:xfrm>
          <a:custGeom>
            <a:avLst/>
            <a:gdLst>
              <a:gd name="T0" fmla="*/ 834 w 882"/>
              <a:gd name="T1" fmla="*/ 387 h 1057"/>
              <a:gd name="T2" fmla="*/ 612 w 882"/>
              <a:gd name="T3" fmla="*/ 125 h 1057"/>
              <a:gd name="T4" fmla="*/ 365 w 882"/>
              <a:gd name="T5" fmla="*/ 0 h 1057"/>
              <a:gd name="T6" fmla="*/ 112 w 882"/>
              <a:gd name="T7" fmla="*/ 166 h 1057"/>
              <a:gd name="T8" fmla="*/ 30 w 882"/>
              <a:gd name="T9" fmla="*/ 424 h 1057"/>
              <a:gd name="T10" fmla="*/ 42 w 882"/>
              <a:gd name="T11" fmla="*/ 663 h 1057"/>
              <a:gd name="T12" fmla="*/ 75 w 882"/>
              <a:gd name="T13" fmla="*/ 812 h 1057"/>
              <a:gd name="T14" fmla="*/ 320 w 882"/>
              <a:gd name="T15" fmla="*/ 1057 h 1057"/>
              <a:gd name="T16" fmla="*/ 489 w 882"/>
              <a:gd name="T17" fmla="*/ 1034 h 1057"/>
              <a:gd name="T18" fmla="*/ 792 w 882"/>
              <a:gd name="T19" fmla="*/ 812 h 1057"/>
              <a:gd name="T20" fmla="*/ 744 w 882"/>
              <a:gd name="T21" fmla="*/ 729 h 1057"/>
              <a:gd name="T22" fmla="*/ 304 w 882"/>
              <a:gd name="T23" fmla="*/ 287 h 1057"/>
              <a:gd name="T24" fmla="*/ 396 w 882"/>
              <a:gd name="T25" fmla="*/ 173 h 1057"/>
              <a:gd name="T26" fmla="*/ 304 w 882"/>
              <a:gd name="T27" fmla="*/ 287 h 1057"/>
              <a:gd name="T28" fmla="*/ 421 w 882"/>
              <a:gd name="T29" fmla="*/ 75 h 1057"/>
              <a:gd name="T30" fmla="*/ 234 w 882"/>
              <a:gd name="T31" fmla="*/ 166 h 1057"/>
              <a:gd name="T32" fmla="*/ 365 w 882"/>
              <a:gd name="T33" fmla="*/ 36 h 1057"/>
              <a:gd name="T34" fmla="*/ 231 w 882"/>
              <a:gd name="T35" fmla="*/ 269 h 1057"/>
              <a:gd name="T36" fmla="*/ 312 w 882"/>
              <a:gd name="T37" fmla="*/ 334 h 1057"/>
              <a:gd name="T38" fmla="*/ 398 w 882"/>
              <a:gd name="T39" fmla="*/ 412 h 1057"/>
              <a:gd name="T40" fmla="*/ 130 w 882"/>
              <a:gd name="T41" fmla="*/ 272 h 1057"/>
              <a:gd name="T42" fmla="*/ 67 w 882"/>
              <a:gd name="T43" fmla="*/ 333 h 1057"/>
              <a:gd name="T44" fmla="*/ 396 w 882"/>
              <a:gd name="T45" fmla="*/ 540 h 1057"/>
              <a:gd name="T46" fmla="*/ 67 w 882"/>
              <a:gd name="T47" fmla="*/ 333 h 1057"/>
              <a:gd name="T48" fmla="*/ 357 w 882"/>
              <a:gd name="T49" fmla="*/ 612 h 1057"/>
              <a:gd name="T50" fmla="*/ 75 w 882"/>
              <a:gd name="T51" fmla="*/ 590 h 1057"/>
              <a:gd name="T52" fmla="*/ 75 w 882"/>
              <a:gd name="T53" fmla="*/ 632 h 1057"/>
              <a:gd name="T54" fmla="*/ 322 w 882"/>
              <a:gd name="T55" fmla="*/ 789 h 1057"/>
              <a:gd name="T56" fmla="*/ 754 w 882"/>
              <a:gd name="T57" fmla="*/ 796 h 1057"/>
              <a:gd name="T58" fmla="*/ 625 w 882"/>
              <a:gd name="T59" fmla="*/ 835 h 1057"/>
              <a:gd name="T60" fmla="*/ 834 w 882"/>
              <a:gd name="T61" fmla="*/ 551 h 1057"/>
              <a:gd name="T62" fmla="*/ 119 w 882"/>
              <a:gd name="T63" fmla="*/ 812 h 1057"/>
              <a:gd name="T64" fmla="*/ 321 w 882"/>
              <a:gd name="T65" fmla="*/ 825 h 1057"/>
              <a:gd name="T66" fmla="*/ 384 w 882"/>
              <a:gd name="T67" fmla="*/ 711 h 1057"/>
              <a:gd name="T68" fmla="*/ 432 w 882"/>
              <a:gd name="T69" fmla="*/ 541 h 1057"/>
              <a:gd name="T70" fmla="*/ 397 w 882"/>
              <a:gd name="T71" fmla="*/ 331 h 1057"/>
              <a:gd name="T72" fmla="*/ 458 w 882"/>
              <a:gd name="T73" fmla="*/ 238 h 1057"/>
              <a:gd name="T74" fmla="*/ 525 w 882"/>
              <a:gd name="T75" fmla="*/ 78 h 1057"/>
              <a:gd name="T76" fmla="*/ 609 w 882"/>
              <a:gd name="T77" fmla="*/ 380 h 1057"/>
              <a:gd name="T78" fmla="*/ 619 w 882"/>
              <a:gd name="T79" fmla="*/ 163 h 1057"/>
              <a:gd name="T80" fmla="*/ 724 w 882"/>
              <a:gd name="T81" fmla="*/ 465 h 1057"/>
              <a:gd name="T82" fmla="*/ 747 w 882"/>
              <a:gd name="T83" fmla="*/ 273 h 1057"/>
              <a:gd name="T84" fmla="*/ 796 w 882"/>
              <a:gd name="T85" fmla="*/ 401 h 1057"/>
              <a:gd name="T86" fmla="*/ 793 w 882"/>
              <a:gd name="T87" fmla="*/ 542 h 1057"/>
              <a:gd name="T88" fmla="*/ 834 w 882"/>
              <a:gd name="T89" fmla="*/ 551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2" h="1057">
                <a:moveTo>
                  <a:pt x="834" y="396"/>
                </a:moveTo>
                <a:cubicBezTo>
                  <a:pt x="834" y="395"/>
                  <a:pt x="834" y="395"/>
                  <a:pt x="834" y="395"/>
                </a:cubicBezTo>
                <a:cubicBezTo>
                  <a:pt x="834" y="392"/>
                  <a:pt x="834" y="389"/>
                  <a:pt x="834" y="387"/>
                </a:cubicBezTo>
                <a:cubicBezTo>
                  <a:pt x="838" y="335"/>
                  <a:pt x="822" y="300"/>
                  <a:pt x="807" y="279"/>
                </a:cubicBezTo>
                <a:cubicBezTo>
                  <a:pt x="789" y="255"/>
                  <a:pt x="765" y="239"/>
                  <a:pt x="745" y="232"/>
                </a:cubicBezTo>
                <a:cubicBezTo>
                  <a:pt x="725" y="158"/>
                  <a:pt x="656" y="131"/>
                  <a:pt x="612" y="125"/>
                </a:cubicBezTo>
                <a:cubicBezTo>
                  <a:pt x="602" y="104"/>
                  <a:pt x="576" y="58"/>
                  <a:pt x="536" y="44"/>
                </a:cubicBezTo>
                <a:cubicBezTo>
                  <a:pt x="502" y="33"/>
                  <a:pt x="467" y="42"/>
                  <a:pt x="447" y="50"/>
                </a:cubicBezTo>
                <a:cubicBezTo>
                  <a:pt x="433" y="31"/>
                  <a:pt x="404" y="0"/>
                  <a:pt x="365" y="0"/>
                </a:cubicBezTo>
                <a:cubicBezTo>
                  <a:pt x="365" y="0"/>
                  <a:pt x="365" y="0"/>
                  <a:pt x="365" y="0"/>
                </a:cubicBezTo>
                <a:cubicBezTo>
                  <a:pt x="319" y="0"/>
                  <a:pt x="230" y="89"/>
                  <a:pt x="197" y="124"/>
                </a:cubicBezTo>
                <a:cubicBezTo>
                  <a:pt x="179" y="126"/>
                  <a:pt x="138" y="133"/>
                  <a:pt x="112" y="166"/>
                </a:cubicBezTo>
                <a:cubicBezTo>
                  <a:pt x="92" y="191"/>
                  <a:pt x="85" y="224"/>
                  <a:pt x="92" y="265"/>
                </a:cubicBezTo>
                <a:cubicBezTo>
                  <a:pt x="74" y="272"/>
                  <a:pt x="50" y="288"/>
                  <a:pt x="35" y="316"/>
                </a:cubicBezTo>
                <a:cubicBezTo>
                  <a:pt x="18" y="346"/>
                  <a:pt x="17" y="383"/>
                  <a:pt x="30" y="424"/>
                </a:cubicBezTo>
                <a:cubicBezTo>
                  <a:pt x="20" y="438"/>
                  <a:pt x="9" y="460"/>
                  <a:pt x="5" y="484"/>
                </a:cubicBezTo>
                <a:cubicBezTo>
                  <a:pt x="0" y="516"/>
                  <a:pt x="2" y="562"/>
                  <a:pt x="42" y="607"/>
                </a:cubicBezTo>
                <a:cubicBezTo>
                  <a:pt x="36" y="626"/>
                  <a:pt x="40" y="651"/>
                  <a:pt x="42" y="663"/>
                </a:cubicBezTo>
                <a:cubicBezTo>
                  <a:pt x="50" y="702"/>
                  <a:pt x="72" y="746"/>
                  <a:pt x="108" y="769"/>
                </a:cubicBezTo>
                <a:cubicBezTo>
                  <a:pt x="80" y="799"/>
                  <a:pt x="80" y="799"/>
                  <a:pt x="80" y="799"/>
                </a:cubicBezTo>
                <a:cubicBezTo>
                  <a:pt x="77" y="802"/>
                  <a:pt x="75" y="807"/>
                  <a:pt x="75" y="812"/>
                </a:cubicBezTo>
                <a:cubicBezTo>
                  <a:pt x="75" y="817"/>
                  <a:pt x="77" y="821"/>
                  <a:pt x="80" y="825"/>
                </a:cubicBezTo>
                <a:cubicBezTo>
                  <a:pt x="307" y="1052"/>
                  <a:pt x="307" y="1052"/>
                  <a:pt x="307" y="1052"/>
                </a:cubicBezTo>
                <a:cubicBezTo>
                  <a:pt x="311" y="1055"/>
                  <a:pt x="315" y="1057"/>
                  <a:pt x="320" y="1057"/>
                </a:cubicBezTo>
                <a:cubicBezTo>
                  <a:pt x="323" y="1057"/>
                  <a:pt x="327" y="1056"/>
                  <a:pt x="330" y="1053"/>
                </a:cubicBezTo>
                <a:cubicBezTo>
                  <a:pt x="331" y="1053"/>
                  <a:pt x="386" y="1006"/>
                  <a:pt x="435" y="970"/>
                </a:cubicBezTo>
                <a:cubicBezTo>
                  <a:pt x="489" y="1034"/>
                  <a:pt x="489" y="1034"/>
                  <a:pt x="489" y="1034"/>
                </a:cubicBezTo>
                <a:cubicBezTo>
                  <a:pt x="493" y="1038"/>
                  <a:pt x="498" y="1040"/>
                  <a:pt x="503" y="1040"/>
                </a:cubicBezTo>
                <a:cubicBezTo>
                  <a:pt x="507" y="1040"/>
                  <a:pt x="511" y="1039"/>
                  <a:pt x="514" y="1036"/>
                </a:cubicBezTo>
                <a:cubicBezTo>
                  <a:pt x="792" y="812"/>
                  <a:pt x="792" y="812"/>
                  <a:pt x="792" y="812"/>
                </a:cubicBezTo>
                <a:cubicBezTo>
                  <a:pt x="795" y="809"/>
                  <a:pt x="798" y="804"/>
                  <a:pt x="798" y="799"/>
                </a:cubicBezTo>
                <a:cubicBezTo>
                  <a:pt x="799" y="794"/>
                  <a:pt x="797" y="790"/>
                  <a:pt x="794" y="786"/>
                </a:cubicBezTo>
                <a:cubicBezTo>
                  <a:pt x="744" y="729"/>
                  <a:pt x="744" y="729"/>
                  <a:pt x="744" y="729"/>
                </a:cubicBezTo>
                <a:cubicBezTo>
                  <a:pt x="812" y="656"/>
                  <a:pt x="860" y="583"/>
                  <a:pt x="867" y="566"/>
                </a:cubicBezTo>
                <a:cubicBezTo>
                  <a:pt x="882" y="534"/>
                  <a:pt x="870" y="455"/>
                  <a:pt x="834" y="396"/>
                </a:cubicBezTo>
                <a:close/>
                <a:moveTo>
                  <a:pt x="304" y="287"/>
                </a:moveTo>
                <a:cubicBezTo>
                  <a:pt x="287" y="276"/>
                  <a:pt x="273" y="263"/>
                  <a:pt x="261" y="250"/>
                </a:cubicBezTo>
                <a:cubicBezTo>
                  <a:pt x="252" y="224"/>
                  <a:pt x="257" y="203"/>
                  <a:pt x="261" y="192"/>
                </a:cubicBezTo>
                <a:cubicBezTo>
                  <a:pt x="396" y="173"/>
                  <a:pt x="396" y="173"/>
                  <a:pt x="396" y="173"/>
                </a:cubicBezTo>
                <a:cubicBezTo>
                  <a:pt x="418" y="194"/>
                  <a:pt x="427" y="213"/>
                  <a:pt x="423" y="229"/>
                </a:cubicBezTo>
                <a:cubicBezTo>
                  <a:pt x="414" y="264"/>
                  <a:pt x="352" y="290"/>
                  <a:pt x="323" y="299"/>
                </a:cubicBezTo>
                <a:cubicBezTo>
                  <a:pt x="317" y="295"/>
                  <a:pt x="310" y="291"/>
                  <a:pt x="304" y="287"/>
                </a:cubicBezTo>
                <a:close/>
                <a:moveTo>
                  <a:pt x="365" y="36"/>
                </a:moveTo>
                <a:cubicBezTo>
                  <a:pt x="365" y="36"/>
                  <a:pt x="365" y="36"/>
                  <a:pt x="365" y="36"/>
                </a:cubicBezTo>
                <a:cubicBezTo>
                  <a:pt x="388" y="36"/>
                  <a:pt x="410" y="60"/>
                  <a:pt x="421" y="75"/>
                </a:cubicBezTo>
                <a:cubicBezTo>
                  <a:pt x="398" y="136"/>
                  <a:pt x="398" y="136"/>
                  <a:pt x="398" y="136"/>
                </a:cubicBezTo>
                <a:cubicBezTo>
                  <a:pt x="247" y="158"/>
                  <a:pt x="247" y="158"/>
                  <a:pt x="247" y="158"/>
                </a:cubicBezTo>
                <a:cubicBezTo>
                  <a:pt x="241" y="159"/>
                  <a:pt x="237" y="162"/>
                  <a:pt x="234" y="166"/>
                </a:cubicBezTo>
                <a:cubicBezTo>
                  <a:pt x="234" y="167"/>
                  <a:pt x="230" y="172"/>
                  <a:pt x="227" y="182"/>
                </a:cubicBezTo>
                <a:cubicBezTo>
                  <a:pt x="224" y="171"/>
                  <a:pt x="223" y="160"/>
                  <a:pt x="223" y="149"/>
                </a:cubicBezTo>
                <a:cubicBezTo>
                  <a:pt x="275" y="94"/>
                  <a:pt x="343" y="36"/>
                  <a:pt x="365" y="36"/>
                </a:cubicBezTo>
                <a:close/>
                <a:moveTo>
                  <a:pt x="140" y="189"/>
                </a:moveTo>
                <a:cubicBezTo>
                  <a:pt x="153" y="172"/>
                  <a:pt x="173" y="165"/>
                  <a:pt x="187" y="162"/>
                </a:cubicBezTo>
                <a:cubicBezTo>
                  <a:pt x="190" y="201"/>
                  <a:pt x="205" y="238"/>
                  <a:pt x="231" y="269"/>
                </a:cubicBezTo>
                <a:cubicBezTo>
                  <a:pt x="231" y="270"/>
                  <a:pt x="232" y="270"/>
                  <a:pt x="232" y="271"/>
                </a:cubicBezTo>
                <a:cubicBezTo>
                  <a:pt x="246" y="288"/>
                  <a:pt x="264" y="303"/>
                  <a:pt x="284" y="317"/>
                </a:cubicBezTo>
                <a:cubicBezTo>
                  <a:pt x="294" y="324"/>
                  <a:pt x="303" y="329"/>
                  <a:pt x="312" y="334"/>
                </a:cubicBezTo>
                <a:cubicBezTo>
                  <a:pt x="312" y="334"/>
                  <a:pt x="312" y="334"/>
                  <a:pt x="312" y="334"/>
                </a:cubicBezTo>
                <a:cubicBezTo>
                  <a:pt x="341" y="350"/>
                  <a:pt x="366" y="358"/>
                  <a:pt x="376" y="361"/>
                </a:cubicBezTo>
                <a:cubicBezTo>
                  <a:pt x="393" y="377"/>
                  <a:pt x="401" y="394"/>
                  <a:pt x="398" y="412"/>
                </a:cubicBezTo>
                <a:cubicBezTo>
                  <a:pt x="396" y="431"/>
                  <a:pt x="385" y="446"/>
                  <a:pt x="378" y="452"/>
                </a:cubicBezTo>
                <a:cubicBezTo>
                  <a:pt x="158" y="389"/>
                  <a:pt x="131" y="275"/>
                  <a:pt x="130" y="273"/>
                </a:cubicBezTo>
                <a:cubicBezTo>
                  <a:pt x="130" y="273"/>
                  <a:pt x="130" y="273"/>
                  <a:pt x="130" y="272"/>
                </a:cubicBezTo>
                <a:cubicBezTo>
                  <a:pt x="130" y="272"/>
                  <a:pt x="130" y="272"/>
                  <a:pt x="130" y="272"/>
                </a:cubicBezTo>
                <a:cubicBezTo>
                  <a:pt x="122" y="236"/>
                  <a:pt x="125" y="208"/>
                  <a:pt x="140" y="189"/>
                </a:cubicBezTo>
                <a:close/>
                <a:moveTo>
                  <a:pt x="67" y="333"/>
                </a:moveTo>
                <a:cubicBezTo>
                  <a:pt x="76" y="316"/>
                  <a:pt x="90" y="306"/>
                  <a:pt x="102" y="300"/>
                </a:cubicBezTo>
                <a:cubicBezTo>
                  <a:pt x="119" y="341"/>
                  <a:pt x="179" y="433"/>
                  <a:pt x="372" y="488"/>
                </a:cubicBezTo>
                <a:cubicBezTo>
                  <a:pt x="387" y="499"/>
                  <a:pt x="397" y="520"/>
                  <a:pt x="396" y="540"/>
                </a:cubicBezTo>
                <a:cubicBezTo>
                  <a:pt x="395" y="557"/>
                  <a:pt x="379" y="575"/>
                  <a:pt x="367" y="577"/>
                </a:cubicBezTo>
                <a:cubicBezTo>
                  <a:pt x="153" y="517"/>
                  <a:pt x="77" y="433"/>
                  <a:pt x="66" y="420"/>
                </a:cubicBezTo>
                <a:cubicBezTo>
                  <a:pt x="54" y="385"/>
                  <a:pt x="54" y="356"/>
                  <a:pt x="67" y="333"/>
                </a:cubicBezTo>
                <a:close/>
                <a:moveTo>
                  <a:pt x="39" y="508"/>
                </a:moveTo>
                <a:cubicBezTo>
                  <a:pt x="39" y="487"/>
                  <a:pt x="46" y="469"/>
                  <a:pt x="52" y="457"/>
                </a:cubicBezTo>
                <a:cubicBezTo>
                  <a:pt x="84" y="490"/>
                  <a:pt x="171" y="559"/>
                  <a:pt x="357" y="612"/>
                </a:cubicBezTo>
                <a:cubicBezTo>
                  <a:pt x="374" y="624"/>
                  <a:pt x="380" y="638"/>
                  <a:pt x="377" y="660"/>
                </a:cubicBezTo>
                <a:cubicBezTo>
                  <a:pt x="376" y="673"/>
                  <a:pt x="362" y="683"/>
                  <a:pt x="354" y="688"/>
                </a:cubicBezTo>
                <a:cubicBezTo>
                  <a:pt x="216" y="682"/>
                  <a:pt x="89" y="599"/>
                  <a:pt x="75" y="590"/>
                </a:cubicBezTo>
                <a:cubicBezTo>
                  <a:pt x="51" y="566"/>
                  <a:pt x="39" y="538"/>
                  <a:pt x="39" y="508"/>
                </a:cubicBezTo>
                <a:close/>
                <a:moveTo>
                  <a:pt x="89" y="690"/>
                </a:moveTo>
                <a:cubicBezTo>
                  <a:pt x="79" y="668"/>
                  <a:pt x="75" y="647"/>
                  <a:pt x="75" y="632"/>
                </a:cubicBezTo>
                <a:cubicBezTo>
                  <a:pt x="120" y="660"/>
                  <a:pt x="229" y="718"/>
                  <a:pt x="350" y="724"/>
                </a:cubicBezTo>
                <a:cubicBezTo>
                  <a:pt x="354" y="730"/>
                  <a:pt x="359" y="741"/>
                  <a:pt x="357" y="761"/>
                </a:cubicBezTo>
                <a:cubicBezTo>
                  <a:pt x="354" y="782"/>
                  <a:pt x="330" y="788"/>
                  <a:pt x="322" y="789"/>
                </a:cubicBezTo>
                <a:cubicBezTo>
                  <a:pt x="145" y="746"/>
                  <a:pt x="145" y="746"/>
                  <a:pt x="145" y="746"/>
                </a:cubicBezTo>
                <a:cubicBezTo>
                  <a:pt x="115" y="738"/>
                  <a:pt x="98" y="711"/>
                  <a:pt x="89" y="690"/>
                </a:cubicBezTo>
                <a:close/>
                <a:moveTo>
                  <a:pt x="754" y="796"/>
                </a:moveTo>
                <a:cubicBezTo>
                  <a:pt x="505" y="997"/>
                  <a:pt x="505" y="997"/>
                  <a:pt x="505" y="997"/>
                </a:cubicBezTo>
                <a:cubicBezTo>
                  <a:pt x="465" y="949"/>
                  <a:pt x="465" y="949"/>
                  <a:pt x="465" y="949"/>
                </a:cubicBezTo>
                <a:cubicBezTo>
                  <a:pt x="514" y="914"/>
                  <a:pt x="573" y="873"/>
                  <a:pt x="625" y="835"/>
                </a:cubicBezTo>
                <a:cubicBezTo>
                  <a:pt x="659" y="812"/>
                  <a:pt x="690" y="784"/>
                  <a:pt x="719" y="755"/>
                </a:cubicBezTo>
                <a:lnTo>
                  <a:pt x="754" y="796"/>
                </a:lnTo>
                <a:close/>
                <a:moveTo>
                  <a:pt x="834" y="551"/>
                </a:moveTo>
                <a:cubicBezTo>
                  <a:pt x="825" y="572"/>
                  <a:pt x="725" y="722"/>
                  <a:pt x="605" y="806"/>
                </a:cubicBezTo>
                <a:cubicBezTo>
                  <a:pt x="503" y="878"/>
                  <a:pt x="361" y="988"/>
                  <a:pt x="322" y="1015"/>
                </a:cubicBezTo>
                <a:cubicBezTo>
                  <a:pt x="119" y="812"/>
                  <a:pt x="119" y="812"/>
                  <a:pt x="119" y="812"/>
                </a:cubicBezTo>
                <a:cubicBezTo>
                  <a:pt x="146" y="783"/>
                  <a:pt x="146" y="783"/>
                  <a:pt x="146" y="783"/>
                </a:cubicBezTo>
                <a:cubicBezTo>
                  <a:pt x="316" y="825"/>
                  <a:pt x="316" y="825"/>
                  <a:pt x="316" y="825"/>
                </a:cubicBezTo>
                <a:cubicBezTo>
                  <a:pt x="318" y="825"/>
                  <a:pt x="319" y="825"/>
                  <a:pt x="321" y="825"/>
                </a:cubicBezTo>
                <a:cubicBezTo>
                  <a:pt x="321" y="825"/>
                  <a:pt x="322" y="825"/>
                  <a:pt x="322" y="825"/>
                </a:cubicBezTo>
                <a:cubicBezTo>
                  <a:pt x="344" y="823"/>
                  <a:pt x="388" y="808"/>
                  <a:pt x="393" y="765"/>
                </a:cubicBezTo>
                <a:cubicBezTo>
                  <a:pt x="395" y="740"/>
                  <a:pt x="390" y="723"/>
                  <a:pt x="384" y="711"/>
                </a:cubicBezTo>
                <a:cubicBezTo>
                  <a:pt x="396" y="701"/>
                  <a:pt x="410" y="686"/>
                  <a:pt x="413" y="664"/>
                </a:cubicBezTo>
                <a:cubicBezTo>
                  <a:pt x="416" y="639"/>
                  <a:pt x="411" y="619"/>
                  <a:pt x="398" y="602"/>
                </a:cubicBezTo>
                <a:cubicBezTo>
                  <a:pt x="417" y="588"/>
                  <a:pt x="431" y="565"/>
                  <a:pt x="432" y="541"/>
                </a:cubicBezTo>
                <a:cubicBezTo>
                  <a:pt x="433" y="517"/>
                  <a:pt x="424" y="491"/>
                  <a:pt x="408" y="473"/>
                </a:cubicBezTo>
                <a:cubicBezTo>
                  <a:pt x="419" y="461"/>
                  <a:pt x="429" y="443"/>
                  <a:pt x="433" y="424"/>
                </a:cubicBezTo>
                <a:cubicBezTo>
                  <a:pt x="440" y="390"/>
                  <a:pt x="427" y="357"/>
                  <a:pt x="397" y="331"/>
                </a:cubicBezTo>
                <a:cubicBezTo>
                  <a:pt x="395" y="329"/>
                  <a:pt x="392" y="328"/>
                  <a:pt x="389" y="327"/>
                </a:cubicBezTo>
                <a:cubicBezTo>
                  <a:pt x="389" y="327"/>
                  <a:pt x="381" y="325"/>
                  <a:pt x="368" y="320"/>
                </a:cubicBezTo>
                <a:cubicBezTo>
                  <a:pt x="403" y="305"/>
                  <a:pt x="447" y="278"/>
                  <a:pt x="458" y="238"/>
                </a:cubicBezTo>
                <a:cubicBezTo>
                  <a:pt x="465" y="211"/>
                  <a:pt x="455" y="183"/>
                  <a:pt x="429" y="155"/>
                </a:cubicBezTo>
                <a:cubicBezTo>
                  <a:pt x="455" y="86"/>
                  <a:pt x="455" y="86"/>
                  <a:pt x="455" y="86"/>
                </a:cubicBezTo>
                <a:cubicBezTo>
                  <a:pt x="467" y="80"/>
                  <a:pt x="498" y="69"/>
                  <a:pt x="525" y="78"/>
                </a:cubicBezTo>
                <a:cubicBezTo>
                  <a:pt x="551" y="88"/>
                  <a:pt x="574" y="128"/>
                  <a:pt x="582" y="147"/>
                </a:cubicBezTo>
                <a:cubicBezTo>
                  <a:pt x="591" y="362"/>
                  <a:pt x="591" y="362"/>
                  <a:pt x="591" y="362"/>
                </a:cubicBezTo>
                <a:cubicBezTo>
                  <a:pt x="592" y="372"/>
                  <a:pt x="600" y="380"/>
                  <a:pt x="609" y="380"/>
                </a:cubicBezTo>
                <a:cubicBezTo>
                  <a:pt x="609" y="380"/>
                  <a:pt x="610" y="380"/>
                  <a:pt x="610" y="380"/>
                </a:cubicBezTo>
                <a:cubicBezTo>
                  <a:pt x="620" y="379"/>
                  <a:pt x="628" y="371"/>
                  <a:pt x="627" y="361"/>
                </a:cubicBezTo>
                <a:cubicBezTo>
                  <a:pt x="619" y="163"/>
                  <a:pt x="619" y="163"/>
                  <a:pt x="619" y="163"/>
                </a:cubicBezTo>
                <a:cubicBezTo>
                  <a:pt x="648" y="169"/>
                  <a:pt x="700" y="188"/>
                  <a:pt x="712" y="248"/>
                </a:cubicBezTo>
                <a:cubicBezTo>
                  <a:pt x="706" y="447"/>
                  <a:pt x="706" y="447"/>
                  <a:pt x="706" y="447"/>
                </a:cubicBezTo>
                <a:cubicBezTo>
                  <a:pt x="706" y="457"/>
                  <a:pt x="714" y="465"/>
                  <a:pt x="724" y="465"/>
                </a:cubicBezTo>
                <a:cubicBezTo>
                  <a:pt x="724" y="465"/>
                  <a:pt x="724" y="465"/>
                  <a:pt x="724" y="465"/>
                </a:cubicBezTo>
                <a:cubicBezTo>
                  <a:pt x="734" y="465"/>
                  <a:pt x="742" y="457"/>
                  <a:pt x="742" y="448"/>
                </a:cubicBezTo>
                <a:cubicBezTo>
                  <a:pt x="747" y="273"/>
                  <a:pt x="747" y="273"/>
                  <a:pt x="747" y="273"/>
                </a:cubicBezTo>
                <a:cubicBezTo>
                  <a:pt x="757" y="278"/>
                  <a:pt x="769" y="287"/>
                  <a:pt x="778" y="300"/>
                </a:cubicBezTo>
                <a:cubicBezTo>
                  <a:pt x="796" y="325"/>
                  <a:pt x="802" y="357"/>
                  <a:pt x="796" y="395"/>
                </a:cubicBezTo>
                <a:cubicBezTo>
                  <a:pt x="796" y="397"/>
                  <a:pt x="796" y="399"/>
                  <a:pt x="796" y="401"/>
                </a:cubicBezTo>
                <a:cubicBezTo>
                  <a:pt x="775" y="521"/>
                  <a:pt x="775" y="521"/>
                  <a:pt x="775" y="521"/>
                </a:cubicBezTo>
                <a:cubicBezTo>
                  <a:pt x="774" y="531"/>
                  <a:pt x="780" y="540"/>
                  <a:pt x="790" y="542"/>
                </a:cubicBezTo>
                <a:cubicBezTo>
                  <a:pt x="791" y="542"/>
                  <a:pt x="792" y="542"/>
                  <a:pt x="793" y="542"/>
                </a:cubicBezTo>
                <a:cubicBezTo>
                  <a:pt x="802" y="542"/>
                  <a:pt x="809" y="536"/>
                  <a:pt x="811" y="528"/>
                </a:cubicBezTo>
                <a:cubicBezTo>
                  <a:pt x="823" y="457"/>
                  <a:pt x="823" y="457"/>
                  <a:pt x="823" y="457"/>
                </a:cubicBezTo>
                <a:cubicBezTo>
                  <a:pt x="838" y="499"/>
                  <a:pt x="840" y="540"/>
                  <a:pt x="834" y="55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Freeform 164">
            <a:extLst>
              <a:ext uri="{FF2B5EF4-FFF2-40B4-BE49-F238E27FC236}">
                <a16:creationId xmlns:a16="http://schemas.microsoft.com/office/drawing/2014/main" id="{5AD745E1-A0C5-46AE-81D5-38839C489BAD}"/>
              </a:ext>
            </a:extLst>
          </p:cNvPr>
          <p:cNvSpPr>
            <a:spLocks noEditPoints="1"/>
          </p:cNvSpPr>
          <p:nvPr/>
        </p:nvSpPr>
        <p:spPr bwMode="auto">
          <a:xfrm>
            <a:off x="6251668" y="1197089"/>
            <a:ext cx="232864" cy="417151"/>
          </a:xfrm>
          <a:custGeom>
            <a:avLst/>
            <a:gdLst>
              <a:gd name="T0" fmla="*/ 435 w 579"/>
              <a:gd name="T1" fmla="*/ 563 h 1041"/>
              <a:gd name="T2" fmla="*/ 483 w 579"/>
              <a:gd name="T3" fmla="*/ 590 h 1041"/>
              <a:gd name="T4" fmla="*/ 533 w 579"/>
              <a:gd name="T5" fmla="*/ 540 h 1041"/>
              <a:gd name="T6" fmla="*/ 416 w 579"/>
              <a:gd name="T7" fmla="*/ 398 h 1041"/>
              <a:gd name="T8" fmla="*/ 414 w 579"/>
              <a:gd name="T9" fmla="*/ 245 h 1041"/>
              <a:gd name="T10" fmla="*/ 372 w 579"/>
              <a:gd name="T11" fmla="*/ 203 h 1041"/>
              <a:gd name="T12" fmla="*/ 354 w 579"/>
              <a:gd name="T13" fmla="*/ 0 h 1041"/>
              <a:gd name="T14" fmla="*/ 314 w 579"/>
              <a:gd name="T15" fmla="*/ 197 h 1041"/>
              <a:gd name="T16" fmla="*/ 291 w 579"/>
              <a:gd name="T17" fmla="*/ 195 h 1041"/>
              <a:gd name="T18" fmla="*/ 257 w 579"/>
              <a:gd name="T19" fmla="*/ 194 h 1041"/>
              <a:gd name="T20" fmla="*/ 115 w 579"/>
              <a:gd name="T21" fmla="*/ 505 h 1041"/>
              <a:gd name="T22" fmla="*/ 114 w 579"/>
              <a:gd name="T23" fmla="*/ 532 h 1041"/>
              <a:gd name="T24" fmla="*/ 23 w 579"/>
              <a:gd name="T25" fmla="*/ 562 h 1041"/>
              <a:gd name="T26" fmla="*/ 10 w 579"/>
              <a:gd name="T27" fmla="*/ 706 h 1041"/>
              <a:gd name="T28" fmla="*/ 171 w 579"/>
              <a:gd name="T29" fmla="*/ 750 h 1041"/>
              <a:gd name="T30" fmla="*/ 115 w 579"/>
              <a:gd name="T31" fmla="*/ 996 h 1041"/>
              <a:gd name="T32" fmla="*/ 240 w 579"/>
              <a:gd name="T33" fmla="*/ 985 h 1041"/>
              <a:gd name="T34" fmla="*/ 444 w 579"/>
              <a:gd name="T35" fmla="*/ 995 h 1041"/>
              <a:gd name="T36" fmla="*/ 531 w 579"/>
              <a:gd name="T37" fmla="*/ 1036 h 1041"/>
              <a:gd name="T38" fmla="*/ 573 w 579"/>
              <a:gd name="T39" fmla="*/ 949 h 1041"/>
              <a:gd name="T40" fmla="*/ 497 w 579"/>
              <a:gd name="T41" fmla="*/ 540 h 1041"/>
              <a:gd name="T42" fmla="*/ 472 w 579"/>
              <a:gd name="T43" fmla="*/ 549 h 1041"/>
              <a:gd name="T44" fmla="*/ 414 w 579"/>
              <a:gd name="T45" fmla="*/ 447 h 1041"/>
              <a:gd name="T46" fmla="*/ 287 w 579"/>
              <a:gd name="T47" fmla="*/ 103 h 1041"/>
              <a:gd name="T48" fmla="*/ 421 w 579"/>
              <a:gd name="T49" fmla="*/ 103 h 1041"/>
              <a:gd name="T50" fmla="*/ 287 w 579"/>
              <a:gd name="T51" fmla="*/ 103 h 1041"/>
              <a:gd name="T52" fmla="*/ 222 w 579"/>
              <a:gd name="T53" fmla="*/ 535 h 1041"/>
              <a:gd name="T54" fmla="*/ 234 w 579"/>
              <a:gd name="T55" fmla="*/ 554 h 1041"/>
              <a:gd name="T56" fmla="*/ 39 w 579"/>
              <a:gd name="T57" fmla="*/ 685 h 1041"/>
              <a:gd name="T58" fmla="*/ 59 w 579"/>
              <a:gd name="T59" fmla="*/ 568 h 1041"/>
              <a:gd name="T60" fmla="*/ 229 w 579"/>
              <a:gd name="T61" fmla="*/ 590 h 1041"/>
              <a:gd name="T62" fmla="*/ 239 w 579"/>
              <a:gd name="T63" fmla="*/ 593 h 1041"/>
              <a:gd name="T64" fmla="*/ 247 w 579"/>
              <a:gd name="T65" fmla="*/ 602 h 1041"/>
              <a:gd name="T66" fmla="*/ 219 w 579"/>
              <a:gd name="T67" fmla="*/ 720 h 1041"/>
              <a:gd name="T68" fmla="*/ 46 w 579"/>
              <a:gd name="T69" fmla="*/ 690 h 1041"/>
              <a:gd name="T70" fmla="*/ 538 w 579"/>
              <a:gd name="T71" fmla="*/ 986 h 1041"/>
              <a:gd name="T72" fmla="*/ 478 w 579"/>
              <a:gd name="T73" fmla="*/ 983 h 1041"/>
              <a:gd name="T74" fmla="*/ 334 w 579"/>
              <a:gd name="T75" fmla="*/ 613 h 1041"/>
              <a:gd name="T76" fmla="*/ 206 w 579"/>
              <a:gd name="T77" fmla="*/ 974 h 1041"/>
              <a:gd name="T78" fmla="*/ 147 w 579"/>
              <a:gd name="T79" fmla="*/ 979 h 1041"/>
              <a:gd name="T80" fmla="*/ 207 w 579"/>
              <a:gd name="T81" fmla="*/ 755 h 1041"/>
              <a:gd name="T82" fmla="*/ 220 w 579"/>
              <a:gd name="T83" fmla="*/ 757 h 1041"/>
              <a:gd name="T84" fmla="*/ 261 w 579"/>
              <a:gd name="T85" fmla="*/ 723 h 1041"/>
              <a:gd name="T86" fmla="*/ 282 w 579"/>
              <a:gd name="T87" fmla="*/ 608 h 1041"/>
              <a:gd name="T88" fmla="*/ 268 w 579"/>
              <a:gd name="T89" fmla="*/ 568 h 1041"/>
              <a:gd name="T90" fmla="*/ 270 w 579"/>
              <a:gd name="T91" fmla="*/ 558 h 1041"/>
              <a:gd name="T92" fmla="*/ 246 w 579"/>
              <a:gd name="T93" fmla="*/ 409 h 1041"/>
              <a:gd name="T94" fmla="*/ 188 w 579"/>
              <a:gd name="T95" fmla="*/ 524 h 1041"/>
              <a:gd name="T96" fmla="*/ 180 w 579"/>
              <a:gd name="T97" fmla="*/ 536 h 1041"/>
              <a:gd name="T98" fmla="*/ 154 w 579"/>
              <a:gd name="T99" fmla="*/ 532 h 1041"/>
              <a:gd name="T100" fmla="*/ 150 w 579"/>
              <a:gd name="T101" fmla="*/ 516 h 1041"/>
              <a:gd name="T102" fmla="*/ 248 w 579"/>
              <a:gd name="T103" fmla="*/ 236 h 1041"/>
              <a:gd name="T104" fmla="*/ 290 w 579"/>
              <a:gd name="T105" fmla="*/ 230 h 1041"/>
              <a:gd name="T106" fmla="*/ 370 w 579"/>
              <a:gd name="T107" fmla="*/ 239 h 1041"/>
              <a:gd name="T108" fmla="*/ 378 w 579"/>
              <a:gd name="T109" fmla="*/ 245 h 1041"/>
              <a:gd name="T110" fmla="*/ 380 w 579"/>
              <a:gd name="T111" fmla="*/ 516 h 1041"/>
              <a:gd name="T112" fmla="*/ 539 w 579"/>
              <a:gd name="T113" fmla="*/ 962 h 10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79" h="1041">
                <a:moveTo>
                  <a:pt x="573" y="949"/>
                </a:moveTo>
                <a:cubicBezTo>
                  <a:pt x="435" y="563"/>
                  <a:pt x="435" y="563"/>
                  <a:pt x="435" y="563"/>
                </a:cubicBezTo>
                <a:cubicBezTo>
                  <a:pt x="446" y="574"/>
                  <a:pt x="446" y="574"/>
                  <a:pt x="446" y="574"/>
                </a:cubicBezTo>
                <a:cubicBezTo>
                  <a:pt x="456" y="584"/>
                  <a:pt x="469" y="590"/>
                  <a:pt x="483" y="590"/>
                </a:cubicBezTo>
                <a:cubicBezTo>
                  <a:pt x="495" y="590"/>
                  <a:pt x="508" y="585"/>
                  <a:pt x="517" y="576"/>
                </a:cubicBezTo>
                <a:cubicBezTo>
                  <a:pt x="527" y="566"/>
                  <a:pt x="533" y="554"/>
                  <a:pt x="533" y="540"/>
                </a:cubicBezTo>
                <a:cubicBezTo>
                  <a:pt x="534" y="527"/>
                  <a:pt x="529" y="514"/>
                  <a:pt x="519" y="504"/>
                </a:cubicBezTo>
                <a:cubicBezTo>
                  <a:pt x="416" y="398"/>
                  <a:pt x="416" y="398"/>
                  <a:pt x="416" y="398"/>
                </a:cubicBezTo>
                <a:cubicBezTo>
                  <a:pt x="416" y="397"/>
                  <a:pt x="415" y="396"/>
                  <a:pt x="414" y="396"/>
                </a:cubicBezTo>
                <a:cubicBezTo>
                  <a:pt x="414" y="245"/>
                  <a:pt x="414" y="245"/>
                  <a:pt x="414" y="245"/>
                </a:cubicBezTo>
                <a:cubicBezTo>
                  <a:pt x="414" y="223"/>
                  <a:pt x="396" y="204"/>
                  <a:pt x="373" y="203"/>
                </a:cubicBezTo>
                <a:cubicBezTo>
                  <a:pt x="373" y="203"/>
                  <a:pt x="372" y="203"/>
                  <a:pt x="372" y="203"/>
                </a:cubicBezTo>
                <a:cubicBezTo>
                  <a:pt x="420" y="195"/>
                  <a:pt x="457" y="153"/>
                  <a:pt x="457" y="103"/>
                </a:cubicBezTo>
                <a:cubicBezTo>
                  <a:pt x="457" y="46"/>
                  <a:pt x="411" y="0"/>
                  <a:pt x="354" y="0"/>
                </a:cubicBezTo>
                <a:cubicBezTo>
                  <a:pt x="297" y="0"/>
                  <a:pt x="251" y="46"/>
                  <a:pt x="251" y="103"/>
                </a:cubicBezTo>
                <a:cubicBezTo>
                  <a:pt x="251" y="145"/>
                  <a:pt x="277" y="181"/>
                  <a:pt x="314" y="197"/>
                </a:cubicBezTo>
                <a:cubicBezTo>
                  <a:pt x="307" y="196"/>
                  <a:pt x="300" y="195"/>
                  <a:pt x="293" y="195"/>
                </a:cubicBezTo>
                <a:cubicBezTo>
                  <a:pt x="292" y="195"/>
                  <a:pt x="292" y="195"/>
                  <a:pt x="291" y="195"/>
                </a:cubicBezTo>
                <a:cubicBezTo>
                  <a:pt x="260" y="194"/>
                  <a:pt x="260" y="194"/>
                  <a:pt x="260" y="194"/>
                </a:cubicBezTo>
                <a:cubicBezTo>
                  <a:pt x="259" y="194"/>
                  <a:pt x="258" y="194"/>
                  <a:pt x="257" y="194"/>
                </a:cubicBezTo>
                <a:cubicBezTo>
                  <a:pt x="244" y="196"/>
                  <a:pt x="221" y="199"/>
                  <a:pt x="213" y="226"/>
                </a:cubicBezTo>
                <a:cubicBezTo>
                  <a:pt x="115" y="505"/>
                  <a:pt x="115" y="505"/>
                  <a:pt x="115" y="505"/>
                </a:cubicBezTo>
                <a:cubicBezTo>
                  <a:pt x="115" y="505"/>
                  <a:pt x="115" y="506"/>
                  <a:pt x="115" y="506"/>
                </a:cubicBezTo>
                <a:cubicBezTo>
                  <a:pt x="113" y="515"/>
                  <a:pt x="113" y="524"/>
                  <a:pt x="114" y="532"/>
                </a:cubicBezTo>
                <a:cubicBezTo>
                  <a:pt x="77" y="525"/>
                  <a:pt x="77" y="525"/>
                  <a:pt x="77" y="525"/>
                </a:cubicBezTo>
                <a:cubicBezTo>
                  <a:pt x="52" y="520"/>
                  <a:pt x="28" y="537"/>
                  <a:pt x="23" y="562"/>
                </a:cubicBezTo>
                <a:cubicBezTo>
                  <a:pt x="2" y="671"/>
                  <a:pt x="2" y="671"/>
                  <a:pt x="2" y="671"/>
                </a:cubicBezTo>
                <a:cubicBezTo>
                  <a:pt x="0" y="683"/>
                  <a:pt x="3" y="696"/>
                  <a:pt x="10" y="706"/>
                </a:cubicBezTo>
                <a:cubicBezTo>
                  <a:pt x="17" y="716"/>
                  <a:pt x="27" y="723"/>
                  <a:pt x="39" y="725"/>
                </a:cubicBezTo>
                <a:cubicBezTo>
                  <a:pt x="171" y="750"/>
                  <a:pt x="171" y="750"/>
                  <a:pt x="171" y="750"/>
                </a:cubicBezTo>
                <a:cubicBezTo>
                  <a:pt x="110" y="944"/>
                  <a:pt x="110" y="944"/>
                  <a:pt x="110" y="944"/>
                </a:cubicBezTo>
                <a:cubicBezTo>
                  <a:pt x="105" y="962"/>
                  <a:pt x="106" y="980"/>
                  <a:pt x="115" y="996"/>
                </a:cubicBezTo>
                <a:cubicBezTo>
                  <a:pt x="123" y="1012"/>
                  <a:pt x="137" y="1024"/>
                  <a:pt x="155" y="1029"/>
                </a:cubicBezTo>
                <a:cubicBezTo>
                  <a:pt x="191" y="1041"/>
                  <a:pt x="229" y="1021"/>
                  <a:pt x="240" y="985"/>
                </a:cubicBezTo>
                <a:cubicBezTo>
                  <a:pt x="335" y="688"/>
                  <a:pt x="335" y="688"/>
                  <a:pt x="335" y="688"/>
                </a:cubicBezTo>
                <a:cubicBezTo>
                  <a:pt x="444" y="995"/>
                  <a:pt x="444" y="995"/>
                  <a:pt x="444" y="995"/>
                </a:cubicBezTo>
                <a:cubicBezTo>
                  <a:pt x="454" y="1022"/>
                  <a:pt x="481" y="1040"/>
                  <a:pt x="509" y="1040"/>
                </a:cubicBezTo>
                <a:cubicBezTo>
                  <a:pt x="516" y="1040"/>
                  <a:pt x="524" y="1039"/>
                  <a:pt x="531" y="1036"/>
                </a:cubicBezTo>
                <a:cubicBezTo>
                  <a:pt x="549" y="1030"/>
                  <a:pt x="562" y="1018"/>
                  <a:pt x="570" y="1001"/>
                </a:cubicBezTo>
                <a:cubicBezTo>
                  <a:pt x="578" y="985"/>
                  <a:pt x="579" y="966"/>
                  <a:pt x="573" y="949"/>
                </a:cubicBezTo>
                <a:close/>
                <a:moveTo>
                  <a:pt x="493" y="529"/>
                </a:moveTo>
                <a:cubicBezTo>
                  <a:pt x="496" y="532"/>
                  <a:pt x="497" y="536"/>
                  <a:pt x="497" y="540"/>
                </a:cubicBezTo>
                <a:cubicBezTo>
                  <a:pt x="497" y="543"/>
                  <a:pt x="496" y="547"/>
                  <a:pt x="493" y="550"/>
                </a:cubicBezTo>
                <a:cubicBezTo>
                  <a:pt x="487" y="555"/>
                  <a:pt x="477" y="555"/>
                  <a:pt x="472" y="549"/>
                </a:cubicBezTo>
                <a:cubicBezTo>
                  <a:pt x="414" y="489"/>
                  <a:pt x="414" y="489"/>
                  <a:pt x="414" y="489"/>
                </a:cubicBezTo>
                <a:cubicBezTo>
                  <a:pt x="414" y="447"/>
                  <a:pt x="414" y="447"/>
                  <a:pt x="414" y="447"/>
                </a:cubicBezTo>
                <a:lnTo>
                  <a:pt x="493" y="529"/>
                </a:lnTo>
                <a:close/>
                <a:moveTo>
                  <a:pt x="287" y="103"/>
                </a:moveTo>
                <a:cubicBezTo>
                  <a:pt x="287" y="66"/>
                  <a:pt x="317" y="36"/>
                  <a:pt x="354" y="36"/>
                </a:cubicBezTo>
                <a:cubicBezTo>
                  <a:pt x="391" y="36"/>
                  <a:pt x="421" y="66"/>
                  <a:pt x="421" y="103"/>
                </a:cubicBezTo>
                <a:cubicBezTo>
                  <a:pt x="421" y="139"/>
                  <a:pt x="391" y="169"/>
                  <a:pt x="354" y="169"/>
                </a:cubicBezTo>
                <a:cubicBezTo>
                  <a:pt x="317" y="169"/>
                  <a:pt x="287" y="139"/>
                  <a:pt x="287" y="103"/>
                </a:cubicBezTo>
                <a:close/>
                <a:moveTo>
                  <a:pt x="215" y="551"/>
                </a:moveTo>
                <a:cubicBezTo>
                  <a:pt x="218" y="546"/>
                  <a:pt x="220" y="541"/>
                  <a:pt x="222" y="535"/>
                </a:cubicBezTo>
                <a:cubicBezTo>
                  <a:pt x="231" y="511"/>
                  <a:pt x="231" y="511"/>
                  <a:pt x="231" y="511"/>
                </a:cubicBezTo>
                <a:cubicBezTo>
                  <a:pt x="234" y="554"/>
                  <a:pt x="234" y="554"/>
                  <a:pt x="234" y="554"/>
                </a:cubicBezTo>
                <a:lnTo>
                  <a:pt x="215" y="551"/>
                </a:lnTo>
                <a:close/>
                <a:moveTo>
                  <a:pt x="39" y="685"/>
                </a:moveTo>
                <a:cubicBezTo>
                  <a:pt x="38" y="683"/>
                  <a:pt x="37" y="681"/>
                  <a:pt x="38" y="678"/>
                </a:cubicBezTo>
                <a:cubicBezTo>
                  <a:pt x="59" y="568"/>
                  <a:pt x="59" y="568"/>
                  <a:pt x="59" y="568"/>
                </a:cubicBezTo>
                <a:cubicBezTo>
                  <a:pt x="60" y="563"/>
                  <a:pt x="65" y="559"/>
                  <a:pt x="71" y="560"/>
                </a:cubicBezTo>
                <a:cubicBezTo>
                  <a:pt x="229" y="590"/>
                  <a:pt x="229" y="590"/>
                  <a:pt x="229" y="590"/>
                </a:cubicBezTo>
                <a:cubicBezTo>
                  <a:pt x="235" y="591"/>
                  <a:pt x="235" y="591"/>
                  <a:pt x="235" y="591"/>
                </a:cubicBezTo>
                <a:cubicBezTo>
                  <a:pt x="236" y="592"/>
                  <a:pt x="237" y="593"/>
                  <a:pt x="239" y="593"/>
                </a:cubicBezTo>
                <a:cubicBezTo>
                  <a:pt x="240" y="594"/>
                  <a:pt x="242" y="594"/>
                  <a:pt x="244" y="594"/>
                </a:cubicBezTo>
                <a:cubicBezTo>
                  <a:pt x="246" y="596"/>
                  <a:pt x="247" y="599"/>
                  <a:pt x="247" y="602"/>
                </a:cubicBezTo>
                <a:cubicBezTo>
                  <a:pt x="226" y="714"/>
                  <a:pt x="226" y="714"/>
                  <a:pt x="226" y="714"/>
                </a:cubicBezTo>
                <a:cubicBezTo>
                  <a:pt x="225" y="717"/>
                  <a:pt x="222" y="719"/>
                  <a:pt x="219" y="720"/>
                </a:cubicBezTo>
                <a:cubicBezTo>
                  <a:pt x="185" y="716"/>
                  <a:pt x="185" y="716"/>
                  <a:pt x="185" y="716"/>
                </a:cubicBezTo>
                <a:cubicBezTo>
                  <a:pt x="46" y="690"/>
                  <a:pt x="46" y="690"/>
                  <a:pt x="46" y="690"/>
                </a:cubicBezTo>
                <a:cubicBezTo>
                  <a:pt x="43" y="689"/>
                  <a:pt x="41" y="688"/>
                  <a:pt x="39" y="685"/>
                </a:cubicBezTo>
                <a:close/>
                <a:moveTo>
                  <a:pt x="538" y="986"/>
                </a:moveTo>
                <a:cubicBezTo>
                  <a:pt x="534" y="993"/>
                  <a:pt x="528" y="999"/>
                  <a:pt x="519" y="1002"/>
                </a:cubicBezTo>
                <a:cubicBezTo>
                  <a:pt x="503" y="1008"/>
                  <a:pt x="484" y="999"/>
                  <a:pt x="478" y="983"/>
                </a:cubicBezTo>
                <a:cubicBezTo>
                  <a:pt x="351" y="625"/>
                  <a:pt x="351" y="625"/>
                  <a:pt x="351" y="625"/>
                </a:cubicBezTo>
                <a:cubicBezTo>
                  <a:pt x="348" y="618"/>
                  <a:pt x="341" y="613"/>
                  <a:pt x="334" y="613"/>
                </a:cubicBezTo>
                <a:cubicBezTo>
                  <a:pt x="326" y="613"/>
                  <a:pt x="319" y="618"/>
                  <a:pt x="317" y="626"/>
                </a:cubicBezTo>
                <a:cubicBezTo>
                  <a:pt x="206" y="974"/>
                  <a:pt x="206" y="974"/>
                  <a:pt x="206" y="974"/>
                </a:cubicBezTo>
                <a:cubicBezTo>
                  <a:pt x="201" y="991"/>
                  <a:pt x="183" y="1000"/>
                  <a:pt x="166" y="995"/>
                </a:cubicBezTo>
                <a:cubicBezTo>
                  <a:pt x="157" y="992"/>
                  <a:pt x="151" y="987"/>
                  <a:pt x="147" y="979"/>
                </a:cubicBezTo>
                <a:cubicBezTo>
                  <a:pt x="143" y="972"/>
                  <a:pt x="142" y="963"/>
                  <a:pt x="145" y="955"/>
                </a:cubicBezTo>
                <a:cubicBezTo>
                  <a:pt x="207" y="755"/>
                  <a:pt x="207" y="755"/>
                  <a:pt x="207" y="755"/>
                </a:cubicBezTo>
                <a:cubicBezTo>
                  <a:pt x="217" y="756"/>
                  <a:pt x="217" y="756"/>
                  <a:pt x="217" y="756"/>
                </a:cubicBezTo>
                <a:cubicBezTo>
                  <a:pt x="218" y="757"/>
                  <a:pt x="219" y="757"/>
                  <a:pt x="220" y="757"/>
                </a:cubicBezTo>
                <a:cubicBezTo>
                  <a:pt x="221" y="757"/>
                  <a:pt x="221" y="757"/>
                  <a:pt x="222" y="756"/>
                </a:cubicBezTo>
                <a:cubicBezTo>
                  <a:pt x="241" y="754"/>
                  <a:pt x="256" y="741"/>
                  <a:pt x="261" y="723"/>
                </a:cubicBezTo>
                <a:cubicBezTo>
                  <a:pt x="261" y="723"/>
                  <a:pt x="261" y="722"/>
                  <a:pt x="261" y="722"/>
                </a:cubicBezTo>
                <a:cubicBezTo>
                  <a:pt x="282" y="608"/>
                  <a:pt x="282" y="608"/>
                  <a:pt x="282" y="608"/>
                </a:cubicBezTo>
                <a:cubicBezTo>
                  <a:pt x="283" y="607"/>
                  <a:pt x="283" y="607"/>
                  <a:pt x="283" y="606"/>
                </a:cubicBezTo>
                <a:cubicBezTo>
                  <a:pt x="284" y="592"/>
                  <a:pt x="279" y="577"/>
                  <a:pt x="268" y="568"/>
                </a:cubicBezTo>
                <a:cubicBezTo>
                  <a:pt x="268" y="566"/>
                  <a:pt x="268" y="566"/>
                  <a:pt x="268" y="566"/>
                </a:cubicBezTo>
                <a:cubicBezTo>
                  <a:pt x="270" y="564"/>
                  <a:pt x="270" y="561"/>
                  <a:pt x="270" y="558"/>
                </a:cubicBezTo>
                <a:cubicBezTo>
                  <a:pt x="261" y="425"/>
                  <a:pt x="261" y="425"/>
                  <a:pt x="261" y="425"/>
                </a:cubicBezTo>
                <a:cubicBezTo>
                  <a:pt x="261" y="417"/>
                  <a:pt x="254" y="410"/>
                  <a:pt x="246" y="409"/>
                </a:cubicBezTo>
                <a:cubicBezTo>
                  <a:pt x="238" y="407"/>
                  <a:pt x="229" y="412"/>
                  <a:pt x="226" y="420"/>
                </a:cubicBezTo>
                <a:cubicBezTo>
                  <a:pt x="188" y="524"/>
                  <a:pt x="188" y="524"/>
                  <a:pt x="188" y="524"/>
                </a:cubicBezTo>
                <a:cubicBezTo>
                  <a:pt x="188" y="524"/>
                  <a:pt x="187" y="525"/>
                  <a:pt x="187" y="525"/>
                </a:cubicBezTo>
                <a:cubicBezTo>
                  <a:pt x="186" y="530"/>
                  <a:pt x="183" y="533"/>
                  <a:pt x="180" y="536"/>
                </a:cubicBezTo>
                <a:cubicBezTo>
                  <a:pt x="178" y="537"/>
                  <a:pt x="178" y="537"/>
                  <a:pt x="178" y="537"/>
                </a:cubicBezTo>
                <a:cubicBezTo>
                  <a:pt x="154" y="532"/>
                  <a:pt x="154" y="532"/>
                  <a:pt x="154" y="532"/>
                </a:cubicBezTo>
                <a:cubicBezTo>
                  <a:pt x="151" y="529"/>
                  <a:pt x="151" y="529"/>
                  <a:pt x="151" y="529"/>
                </a:cubicBezTo>
                <a:cubicBezTo>
                  <a:pt x="149" y="525"/>
                  <a:pt x="149" y="520"/>
                  <a:pt x="150" y="516"/>
                </a:cubicBezTo>
                <a:cubicBezTo>
                  <a:pt x="248" y="237"/>
                  <a:pt x="248" y="237"/>
                  <a:pt x="248" y="237"/>
                </a:cubicBezTo>
                <a:cubicBezTo>
                  <a:pt x="248" y="237"/>
                  <a:pt x="248" y="236"/>
                  <a:pt x="248" y="236"/>
                </a:cubicBezTo>
                <a:cubicBezTo>
                  <a:pt x="249" y="233"/>
                  <a:pt x="249" y="232"/>
                  <a:pt x="261" y="230"/>
                </a:cubicBezTo>
                <a:cubicBezTo>
                  <a:pt x="290" y="230"/>
                  <a:pt x="290" y="230"/>
                  <a:pt x="290" y="230"/>
                </a:cubicBezTo>
                <a:cubicBezTo>
                  <a:pt x="298" y="231"/>
                  <a:pt x="306" y="232"/>
                  <a:pt x="314" y="233"/>
                </a:cubicBezTo>
                <a:cubicBezTo>
                  <a:pt x="330" y="234"/>
                  <a:pt x="345" y="236"/>
                  <a:pt x="370" y="239"/>
                </a:cubicBezTo>
                <a:cubicBezTo>
                  <a:pt x="370" y="239"/>
                  <a:pt x="371" y="239"/>
                  <a:pt x="372" y="239"/>
                </a:cubicBezTo>
                <a:cubicBezTo>
                  <a:pt x="375" y="239"/>
                  <a:pt x="378" y="242"/>
                  <a:pt x="378" y="245"/>
                </a:cubicBezTo>
                <a:cubicBezTo>
                  <a:pt x="378" y="509"/>
                  <a:pt x="378" y="509"/>
                  <a:pt x="378" y="509"/>
                </a:cubicBezTo>
                <a:cubicBezTo>
                  <a:pt x="378" y="511"/>
                  <a:pt x="379" y="514"/>
                  <a:pt x="380" y="516"/>
                </a:cubicBezTo>
                <a:cubicBezTo>
                  <a:pt x="382" y="521"/>
                  <a:pt x="382" y="521"/>
                  <a:pt x="382" y="521"/>
                </a:cubicBezTo>
                <a:cubicBezTo>
                  <a:pt x="539" y="962"/>
                  <a:pt x="539" y="962"/>
                  <a:pt x="539" y="962"/>
                </a:cubicBezTo>
                <a:cubicBezTo>
                  <a:pt x="542" y="969"/>
                  <a:pt x="541" y="978"/>
                  <a:pt x="538" y="9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CF05BF2-6BA6-4D4E-99A7-E13FD3357887}"/>
              </a:ext>
            </a:extLst>
          </p:cNvPr>
          <p:cNvGrpSpPr/>
          <p:nvPr/>
        </p:nvGrpSpPr>
        <p:grpSpPr>
          <a:xfrm>
            <a:off x="3613775" y="1270114"/>
            <a:ext cx="268611" cy="344127"/>
            <a:chOff x="4583113" y="2170113"/>
            <a:chExt cx="3021012" cy="3870326"/>
          </a:xfrm>
          <a:solidFill>
            <a:schemeClr val="accent2"/>
          </a:solidFill>
        </p:grpSpPr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id="{D99E27E6-953B-4A3E-9DEB-75B4B894C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8038" y="3127376"/>
              <a:ext cx="2986087" cy="2913063"/>
            </a:xfrm>
            <a:custGeom>
              <a:avLst/>
              <a:gdLst>
                <a:gd name="T0" fmla="*/ 731 w 796"/>
                <a:gd name="T1" fmla="*/ 455 h 778"/>
                <a:gd name="T2" fmla="*/ 693 w 796"/>
                <a:gd name="T3" fmla="*/ 364 h 778"/>
                <a:gd name="T4" fmla="*/ 747 w 796"/>
                <a:gd name="T5" fmla="*/ 49 h 778"/>
                <a:gd name="T6" fmla="*/ 505 w 796"/>
                <a:gd name="T7" fmla="*/ 95 h 778"/>
                <a:gd name="T8" fmla="*/ 239 w 796"/>
                <a:gd name="T9" fmla="*/ 132 h 778"/>
                <a:gd name="T10" fmla="*/ 169 w 796"/>
                <a:gd name="T11" fmla="*/ 0 h 778"/>
                <a:gd name="T12" fmla="*/ 0 w 796"/>
                <a:gd name="T13" fmla="*/ 315 h 778"/>
                <a:gd name="T14" fmla="*/ 217 w 796"/>
                <a:gd name="T15" fmla="*/ 315 h 778"/>
                <a:gd name="T16" fmla="*/ 323 w 796"/>
                <a:gd name="T17" fmla="*/ 350 h 778"/>
                <a:gd name="T18" fmla="*/ 522 w 796"/>
                <a:gd name="T19" fmla="*/ 231 h 778"/>
                <a:gd name="T20" fmla="*/ 586 w 796"/>
                <a:gd name="T21" fmla="*/ 364 h 778"/>
                <a:gd name="T22" fmla="*/ 547 w 796"/>
                <a:gd name="T23" fmla="*/ 455 h 778"/>
                <a:gd name="T24" fmla="*/ 494 w 796"/>
                <a:gd name="T25" fmla="*/ 479 h 778"/>
                <a:gd name="T26" fmla="*/ 547 w 796"/>
                <a:gd name="T27" fmla="*/ 702 h 778"/>
                <a:gd name="T28" fmla="*/ 688 w 796"/>
                <a:gd name="T29" fmla="*/ 778 h 778"/>
                <a:gd name="T30" fmla="*/ 757 w 796"/>
                <a:gd name="T31" fmla="*/ 702 h 778"/>
                <a:gd name="T32" fmla="*/ 795 w 796"/>
                <a:gd name="T33" fmla="*/ 477 h 778"/>
                <a:gd name="T34" fmla="*/ 49 w 796"/>
                <a:gd name="T35" fmla="*/ 328 h 778"/>
                <a:gd name="T36" fmla="*/ 49 w 796"/>
                <a:gd name="T37" fmla="*/ 36 h 778"/>
                <a:gd name="T38" fmla="*/ 206 w 796"/>
                <a:gd name="T39" fmla="*/ 103 h 778"/>
                <a:gd name="T40" fmla="*/ 68 w 796"/>
                <a:gd name="T41" fmla="*/ 59 h 778"/>
                <a:gd name="T42" fmla="*/ 181 w 796"/>
                <a:gd name="T43" fmla="*/ 315 h 778"/>
                <a:gd name="T44" fmla="*/ 110 w 796"/>
                <a:gd name="T45" fmla="*/ 75 h 778"/>
                <a:gd name="T46" fmla="*/ 310 w 796"/>
                <a:gd name="T47" fmla="*/ 304 h 778"/>
                <a:gd name="T48" fmla="*/ 565 w 796"/>
                <a:gd name="T49" fmla="*/ 315 h 778"/>
                <a:gd name="T50" fmla="*/ 372 w 796"/>
                <a:gd name="T51" fmla="*/ 324 h 778"/>
                <a:gd name="T52" fmla="*/ 346 w 796"/>
                <a:gd name="T53" fmla="*/ 321 h 778"/>
                <a:gd name="T54" fmla="*/ 542 w 796"/>
                <a:gd name="T55" fmla="*/ 118 h 778"/>
                <a:gd name="T56" fmla="*/ 580 w 796"/>
                <a:gd name="T57" fmla="*/ 36 h 778"/>
                <a:gd name="T58" fmla="*/ 711 w 796"/>
                <a:gd name="T59" fmla="*/ 315 h 778"/>
                <a:gd name="T60" fmla="*/ 693 w 796"/>
                <a:gd name="T61" fmla="*/ 102 h 778"/>
                <a:gd name="T62" fmla="*/ 586 w 796"/>
                <a:gd name="T63" fmla="*/ 328 h 778"/>
                <a:gd name="T64" fmla="*/ 657 w 796"/>
                <a:gd name="T65" fmla="*/ 424 h 778"/>
                <a:gd name="T66" fmla="*/ 622 w 796"/>
                <a:gd name="T67" fmla="*/ 102 h 778"/>
                <a:gd name="T68" fmla="*/ 695 w 796"/>
                <a:gd name="T69" fmla="*/ 735 h 778"/>
                <a:gd name="T70" fmla="*/ 583 w 796"/>
                <a:gd name="T71" fmla="*/ 735 h 778"/>
                <a:gd name="T72" fmla="*/ 695 w 796"/>
                <a:gd name="T73" fmla="*/ 735 h 778"/>
                <a:gd name="T74" fmla="*/ 695 w 796"/>
                <a:gd name="T75" fmla="*/ 666 h 778"/>
                <a:gd name="T76" fmla="*/ 530 w 796"/>
                <a:gd name="T77" fmla="*/ 593 h 778"/>
                <a:gd name="T78" fmla="*/ 645 w 796"/>
                <a:gd name="T79" fmla="*/ 660 h 778"/>
                <a:gd name="T80" fmla="*/ 760 w 796"/>
                <a:gd name="T81" fmla="*/ 594 h 778"/>
                <a:gd name="T82" fmla="*/ 645 w 796"/>
                <a:gd name="T83" fmla="*/ 608 h 778"/>
                <a:gd name="T84" fmla="*/ 637 w 796"/>
                <a:gd name="T85" fmla="*/ 616 h 778"/>
                <a:gd name="T86" fmla="*/ 685 w 796"/>
                <a:gd name="T87" fmla="*/ 598 h 778"/>
                <a:gd name="T88" fmla="*/ 594 w 796"/>
                <a:gd name="T89" fmla="*/ 598 h 778"/>
                <a:gd name="T90" fmla="*/ 533 w 796"/>
                <a:gd name="T91" fmla="*/ 491 h 778"/>
                <a:gd name="T92" fmla="*/ 586 w 796"/>
                <a:gd name="T93" fmla="*/ 412 h 778"/>
                <a:gd name="T94" fmla="*/ 693 w 796"/>
                <a:gd name="T95" fmla="*/ 424 h 778"/>
                <a:gd name="T96" fmla="*/ 695 w 796"/>
                <a:gd name="T97" fmla="*/ 491 h 778"/>
                <a:gd name="T98" fmla="*/ 760 w 796"/>
                <a:gd name="T99" fmla="*/ 548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96" h="778">
                  <a:moveTo>
                    <a:pt x="795" y="477"/>
                  </a:moveTo>
                  <a:cubicBezTo>
                    <a:pt x="789" y="464"/>
                    <a:pt x="773" y="455"/>
                    <a:pt x="757" y="455"/>
                  </a:cubicBezTo>
                  <a:cubicBezTo>
                    <a:pt x="731" y="455"/>
                    <a:pt x="731" y="455"/>
                    <a:pt x="731" y="455"/>
                  </a:cubicBezTo>
                  <a:cubicBezTo>
                    <a:pt x="731" y="418"/>
                    <a:pt x="731" y="418"/>
                    <a:pt x="731" y="418"/>
                  </a:cubicBezTo>
                  <a:cubicBezTo>
                    <a:pt x="731" y="396"/>
                    <a:pt x="715" y="378"/>
                    <a:pt x="693" y="375"/>
                  </a:cubicBezTo>
                  <a:cubicBezTo>
                    <a:pt x="693" y="364"/>
                    <a:pt x="693" y="364"/>
                    <a:pt x="693" y="364"/>
                  </a:cubicBezTo>
                  <a:cubicBezTo>
                    <a:pt x="698" y="364"/>
                    <a:pt x="698" y="364"/>
                    <a:pt x="698" y="364"/>
                  </a:cubicBezTo>
                  <a:cubicBezTo>
                    <a:pt x="725" y="364"/>
                    <a:pt x="747" y="342"/>
                    <a:pt x="747" y="315"/>
                  </a:cubicBezTo>
                  <a:cubicBezTo>
                    <a:pt x="747" y="49"/>
                    <a:pt x="747" y="49"/>
                    <a:pt x="747" y="49"/>
                  </a:cubicBezTo>
                  <a:cubicBezTo>
                    <a:pt x="747" y="22"/>
                    <a:pt x="725" y="0"/>
                    <a:pt x="698" y="0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46" y="0"/>
                    <a:pt x="505" y="74"/>
                    <a:pt x="505" y="95"/>
                  </a:cubicBezTo>
                  <a:cubicBezTo>
                    <a:pt x="505" y="96"/>
                    <a:pt x="505" y="98"/>
                    <a:pt x="505" y="99"/>
                  </a:cubicBezTo>
                  <a:cubicBezTo>
                    <a:pt x="359" y="238"/>
                    <a:pt x="359" y="238"/>
                    <a:pt x="359" y="238"/>
                  </a:cubicBezTo>
                  <a:cubicBezTo>
                    <a:pt x="239" y="132"/>
                    <a:pt x="239" y="132"/>
                    <a:pt x="239" y="132"/>
                  </a:cubicBezTo>
                  <a:cubicBezTo>
                    <a:pt x="239" y="130"/>
                    <a:pt x="239" y="128"/>
                    <a:pt x="239" y="126"/>
                  </a:cubicBezTo>
                  <a:cubicBezTo>
                    <a:pt x="241" y="116"/>
                    <a:pt x="242" y="104"/>
                    <a:pt x="242" y="95"/>
                  </a:cubicBezTo>
                  <a:cubicBezTo>
                    <a:pt x="242" y="74"/>
                    <a:pt x="201" y="0"/>
                    <a:pt x="16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0" y="342"/>
                    <a:pt x="22" y="364"/>
                    <a:pt x="49" y="364"/>
                  </a:cubicBezTo>
                  <a:cubicBezTo>
                    <a:pt x="169" y="364"/>
                    <a:pt x="169" y="364"/>
                    <a:pt x="169" y="364"/>
                  </a:cubicBezTo>
                  <a:cubicBezTo>
                    <a:pt x="196" y="364"/>
                    <a:pt x="217" y="342"/>
                    <a:pt x="217" y="315"/>
                  </a:cubicBezTo>
                  <a:cubicBezTo>
                    <a:pt x="217" y="303"/>
                    <a:pt x="218" y="287"/>
                    <a:pt x="219" y="272"/>
                  </a:cubicBezTo>
                  <a:cubicBezTo>
                    <a:pt x="293" y="336"/>
                    <a:pt x="293" y="336"/>
                    <a:pt x="293" y="336"/>
                  </a:cubicBezTo>
                  <a:cubicBezTo>
                    <a:pt x="301" y="344"/>
                    <a:pt x="312" y="349"/>
                    <a:pt x="323" y="350"/>
                  </a:cubicBezTo>
                  <a:cubicBezTo>
                    <a:pt x="332" y="359"/>
                    <a:pt x="345" y="364"/>
                    <a:pt x="358" y="365"/>
                  </a:cubicBezTo>
                  <a:cubicBezTo>
                    <a:pt x="372" y="365"/>
                    <a:pt x="386" y="360"/>
                    <a:pt x="396" y="350"/>
                  </a:cubicBezTo>
                  <a:cubicBezTo>
                    <a:pt x="522" y="231"/>
                    <a:pt x="522" y="231"/>
                    <a:pt x="522" y="231"/>
                  </a:cubicBezTo>
                  <a:cubicBezTo>
                    <a:pt x="526" y="256"/>
                    <a:pt x="529" y="282"/>
                    <a:pt x="529" y="315"/>
                  </a:cubicBezTo>
                  <a:cubicBezTo>
                    <a:pt x="529" y="342"/>
                    <a:pt x="551" y="364"/>
                    <a:pt x="578" y="364"/>
                  </a:cubicBezTo>
                  <a:cubicBezTo>
                    <a:pt x="586" y="364"/>
                    <a:pt x="586" y="364"/>
                    <a:pt x="586" y="364"/>
                  </a:cubicBezTo>
                  <a:cubicBezTo>
                    <a:pt x="586" y="375"/>
                    <a:pt x="586" y="375"/>
                    <a:pt x="586" y="375"/>
                  </a:cubicBezTo>
                  <a:cubicBezTo>
                    <a:pt x="564" y="377"/>
                    <a:pt x="547" y="395"/>
                    <a:pt x="547" y="418"/>
                  </a:cubicBezTo>
                  <a:cubicBezTo>
                    <a:pt x="547" y="455"/>
                    <a:pt x="547" y="455"/>
                    <a:pt x="547" y="455"/>
                  </a:cubicBezTo>
                  <a:cubicBezTo>
                    <a:pt x="533" y="455"/>
                    <a:pt x="533" y="455"/>
                    <a:pt x="533" y="455"/>
                  </a:cubicBezTo>
                  <a:cubicBezTo>
                    <a:pt x="520" y="455"/>
                    <a:pt x="503" y="461"/>
                    <a:pt x="496" y="475"/>
                  </a:cubicBezTo>
                  <a:cubicBezTo>
                    <a:pt x="494" y="479"/>
                    <a:pt x="494" y="479"/>
                    <a:pt x="494" y="479"/>
                  </a:cubicBezTo>
                  <a:cubicBezTo>
                    <a:pt x="494" y="662"/>
                    <a:pt x="494" y="662"/>
                    <a:pt x="494" y="662"/>
                  </a:cubicBezTo>
                  <a:cubicBezTo>
                    <a:pt x="494" y="684"/>
                    <a:pt x="511" y="702"/>
                    <a:pt x="533" y="702"/>
                  </a:cubicBezTo>
                  <a:cubicBezTo>
                    <a:pt x="547" y="702"/>
                    <a:pt x="547" y="702"/>
                    <a:pt x="547" y="702"/>
                  </a:cubicBezTo>
                  <a:cubicBezTo>
                    <a:pt x="547" y="735"/>
                    <a:pt x="547" y="735"/>
                    <a:pt x="547" y="735"/>
                  </a:cubicBezTo>
                  <a:cubicBezTo>
                    <a:pt x="547" y="759"/>
                    <a:pt x="566" y="778"/>
                    <a:pt x="589" y="778"/>
                  </a:cubicBezTo>
                  <a:cubicBezTo>
                    <a:pt x="688" y="778"/>
                    <a:pt x="688" y="778"/>
                    <a:pt x="688" y="778"/>
                  </a:cubicBezTo>
                  <a:cubicBezTo>
                    <a:pt x="712" y="778"/>
                    <a:pt x="731" y="759"/>
                    <a:pt x="731" y="735"/>
                  </a:cubicBezTo>
                  <a:cubicBezTo>
                    <a:pt x="731" y="702"/>
                    <a:pt x="731" y="702"/>
                    <a:pt x="731" y="702"/>
                  </a:cubicBezTo>
                  <a:cubicBezTo>
                    <a:pt x="757" y="702"/>
                    <a:pt x="757" y="702"/>
                    <a:pt x="757" y="702"/>
                  </a:cubicBezTo>
                  <a:cubicBezTo>
                    <a:pt x="779" y="702"/>
                    <a:pt x="796" y="684"/>
                    <a:pt x="796" y="662"/>
                  </a:cubicBezTo>
                  <a:cubicBezTo>
                    <a:pt x="796" y="481"/>
                    <a:pt x="796" y="481"/>
                    <a:pt x="796" y="481"/>
                  </a:cubicBezTo>
                  <a:lnTo>
                    <a:pt x="795" y="477"/>
                  </a:lnTo>
                  <a:close/>
                  <a:moveTo>
                    <a:pt x="181" y="315"/>
                  </a:moveTo>
                  <a:cubicBezTo>
                    <a:pt x="181" y="322"/>
                    <a:pt x="176" y="328"/>
                    <a:pt x="169" y="328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42" y="328"/>
                    <a:pt x="36" y="322"/>
                    <a:pt x="36" y="315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2"/>
                    <a:pt x="42" y="36"/>
                    <a:pt x="49" y="36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79" y="43"/>
                    <a:pt x="205" y="84"/>
                    <a:pt x="206" y="96"/>
                  </a:cubicBezTo>
                  <a:cubicBezTo>
                    <a:pt x="206" y="98"/>
                    <a:pt x="206" y="100"/>
                    <a:pt x="206" y="103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39" y="44"/>
                    <a:pt x="124" y="38"/>
                    <a:pt x="108" y="39"/>
                  </a:cubicBezTo>
                  <a:cubicBezTo>
                    <a:pt x="93" y="40"/>
                    <a:pt x="78" y="48"/>
                    <a:pt x="68" y="59"/>
                  </a:cubicBezTo>
                  <a:cubicBezTo>
                    <a:pt x="46" y="84"/>
                    <a:pt x="49" y="121"/>
                    <a:pt x="73" y="143"/>
                  </a:cubicBezTo>
                  <a:cubicBezTo>
                    <a:pt x="186" y="242"/>
                    <a:pt x="186" y="242"/>
                    <a:pt x="186" y="242"/>
                  </a:cubicBezTo>
                  <a:cubicBezTo>
                    <a:pt x="183" y="264"/>
                    <a:pt x="181" y="294"/>
                    <a:pt x="181" y="315"/>
                  </a:cubicBezTo>
                  <a:close/>
                  <a:moveTo>
                    <a:pt x="97" y="116"/>
                  </a:moveTo>
                  <a:cubicBezTo>
                    <a:pt x="87" y="107"/>
                    <a:pt x="86" y="93"/>
                    <a:pt x="95" y="83"/>
                  </a:cubicBezTo>
                  <a:cubicBezTo>
                    <a:pt x="99" y="79"/>
                    <a:pt x="104" y="76"/>
                    <a:pt x="110" y="75"/>
                  </a:cubicBezTo>
                  <a:cubicBezTo>
                    <a:pt x="117" y="75"/>
                    <a:pt x="122" y="77"/>
                    <a:pt x="127" y="81"/>
                  </a:cubicBezTo>
                  <a:cubicBezTo>
                    <a:pt x="333" y="263"/>
                    <a:pt x="333" y="263"/>
                    <a:pt x="333" y="263"/>
                  </a:cubicBezTo>
                  <a:cubicBezTo>
                    <a:pt x="319" y="278"/>
                    <a:pt x="313" y="292"/>
                    <a:pt x="310" y="304"/>
                  </a:cubicBezTo>
                  <a:lnTo>
                    <a:pt x="97" y="116"/>
                  </a:lnTo>
                  <a:close/>
                  <a:moveTo>
                    <a:pt x="578" y="328"/>
                  </a:moveTo>
                  <a:cubicBezTo>
                    <a:pt x="571" y="328"/>
                    <a:pt x="565" y="322"/>
                    <a:pt x="565" y="315"/>
                  </a:cubicBezTo>
                  <a:cubicBezTo>
                    <a:pt x="565" y="270"/>
                    <a:pt x="559" y="235"/>
                    <a:pt x="553" y="203"/>
                  </a:cubicBezTo>
                  <a:cubicBezTo>
                    <a:pt x="545" y="159"/>
                    <a:pt x="545" y="159"/>
                    <a:pt x="545" y="159"/>
                  </a:cubicBezTo>
                  <a:cubicBezTo>
                    <a:pt x="372" y="324"/>
                    <a:pt x="372" y="324"/>
                    <a:pt x="372" y="324"/>
                  </a:cubicBezTo>
                  <a:cubicBezTo>
                    <a:pt x="368" y="327"/>
                    <a:pt x="364" y="329"/>
                    <a:pt x="359" y="329"/>
                  </a:cubicBezTo>
                  <a:cubicBezTo>
                    <a:pt x="355" y="329"/>
                    <a:pt x="351" y="327"/>
                    <a:pt x="348" y="324"/>
                  </a:cubicBezTo>
                  <a:cubicBezTo>
                    <a:pt x="346" y="321"/>
                    <a:pt x="346" y="321"/>
                    <a:pt x="346" y="321"/>
                  </a:cubicBezTo>
                  <a:cubicBezTo>
                    <a:pt x="343" y="316"/>
                    <a:pt x="345" y="304"/>
                    <a:pt x="359" y="287"/>
                  </a:cubicBezTo>
                  <a:cubicBezTo>
                    <a:pt x="528" y="127"/>
                    <a:pt x="528" y="127"/>
                    <a:pt x="528" y="127"/>
                  </a:cubicBezTo>
                  <a:cubicBezTo>
                    <a:pt x="542" y="118"/>
                    <a:pt x="542" y="118"/>
                    <a:pt x="542" y="118"/>
                  </a:cubicBezTo>
                  <a:cubicBezTo>
                    <a:pt x="541" y="107"/>
                    <a:pt x="541" y="107"/>
                    <a:pt x="541" y="107"/>
                  </a:cubicBezTo>
                  <a:cubicBezTo>
                    <a:pt x="541" y="103"/>
                    <a:pt x="541" y="100"/>
                    <a:pt x="541" y="96"/>
                  </a:cubicBezTo>
                  <a:cubicBezTo>
                    <a:pt x="542" y="84"/>
                    <a:pt x="568" y="43"/>
                    <a:pt x="580" y="36"/>
                  </a:cubicBezTo>
                  <a:cubicBezTo>
                    <a:pt x="698" y="36"/>
                    <a:pt x="698" y="36"/>
                    <a:pt x="698" y="36"/>
                  </a:cubicBezTo>
                  <a:cubicBezTo>
                    <a:pt x="705" y="36"/>
                    <a:pt x="711" y="42"/>
                    <a:pt x="711" y="49"/>
                  </a:cubicBezTo>
                  <a:cubicBezTo>
                    <a:pt x="711" y="315"/>
                    <a:pt x="711" y="315"/>
                    <a:pt x="711" y="315"/>
                  </a:cubicBezTo>
                  <a:cubicBezTo>
                    <a:pt x="711" y="322"/>
                    <a:pt x="705" y="328"/>
                    <a:pt x="698" y="328"/>
                  </a:cubicBezTo>
                  <a:cubicBezTo>
                    <a:pt x="693" y="328"/>
                    <a:pt x="693" y="328"/>
                    <a:pt x="693" y="328"/>
                  </a:cubicBezTo>
                  <a:cubicBezTo>
                    <a:pt x="693" y="102"/>
                    <a:pt x="693" y="102"/>
                    <a:pt x="693" y="102"/>
                  </a:cubicBezTo>
                  <a:cubicBezTo>
                    <a:pt x="693" y="72"/>
                    <a:pt x="669" y="48"/>
                    <a:pt x="640" y="48"/>
                  </a:cubicBezTo>
                  <a:cubicBezTo>
                    <a:pt x="610" y="48"/>
                    <a:pt x="586" y="72"/>
                    <a:pt x="586" y="102"/>
                  </a:cubicBezTo>
                  <a:cubicBezTo>
                    <a:pt x="586" y="328"/>
                    <a:pt x="586" y="328"/>
                    <a:pt x="586" y="328"/>
                  </a:cubicBezTo>
                  <a:lnTo>
                    <a:pt x="578" y="328"/>
                  </a:lnTo>
                  <a:close/>
                  <a:moveTo>
                    <a:pt x="657" y="102"/>
                  </a:moveTo>
                  <a:cubicBezTo>
                    <a:pt x="657" y="424"/>
                    <a:pt x="657" y="424"/>
                    <a:pt x="657" y="424"/>
                  </a:cubicBezTo>
                  <a:cubicBezTo>
                    <a:pt x="657" y="434"/>
                    <a:pt x="649" y="442"/>
                    <a:pt x="640" y="442"/>
                  </a:cubicBezTo>
                  <a:cubicBezTo>
                    <a:pt x="630" y="442"/>
                    <a:pt x="622" y="434"/>
                    <a:pt x="622" y="424"/>
                  </a:cubicBezTo>
                  <a:cubicBezTo>
                    <a:pt x="622" y="102"/>
                    <a:pt x="622" y="102"/>
                    <a:pt x="622" y="102"/>
                  </a:cubicBezTo>
                  <a:cubicBezTo>
                    <a:pt x="622" y="92"/>
                    <a:pt x="630" y="84"/>
                    <a:pt x="640" y="84"/>
                  </a:cubicBezTo>
                  <a:cubicBezTo>
                    <a:pt x="649" y="84"/>
                    <a:pt x="657" y="92"/>
                    <a:pt x="657" y="102"/>
                  </a:cubicBezTo>
                  <a:close/>
                  <a:moveTo>
                    <a:pt x="695" y="735"/>
                  </a:moveTo>
                  <a:cubicBezTo>
                    <a:pt x="695" y="739"/>
                    <a:pt x="692" y="742"/>
                    <a:pt x="688" y="742"/>
                  </a:cubicBezTo>
                  <a:cubicBezTo>
                    <a:pt x="589" y="742"/>
                    <a:pt x="589" y="742"/>
                    <a:pt x="589" y="742"/>
                  </a:cubicBezTo>
                  <a:cubicBezTo>
                    <a:pt x="586" y="742"/>
                    <a:pt x="583" y="739"/>
                    <a:pt x="583" y="735"/>
                  </a:cubicBezTo>
                  <a:cubicBezTo>
                    <a:pt x="583" y="702"/>
                    <a:pt x="583" y="702"/>
                    <a:pt x="583" y="702"/>
                  </a:cubicBezTo>
                  <a:cubicBezTo>
                    <a:pt x="695" y="702"/>
                    <a:pt x="695" y="702"/>
                    <a:pt x="695" y="702"/>
                  </a:cubicBezTo>
                  <a:lnTo>
                    <a:pt x="695" y="735"/>
                  </a:lnTo>
                  <a:close/>
                  <a:moveTo>
                    <a:pt x="760" y="662"/>
                  </a:moveTo>
                  <a:cubicBezTo>
                    <a:pt x="760" y="664"/>
                    <a:pt x="759" y="666"/>
                    <a:pt x="757" y="666"/>
                  </a:cubicBezTo>
                  <a:cubicBezTo>
                    <a:pt x="695" y="666"/>
                    <a:pt x="695" y="666"/>
                    <a:pt x="695" y="666"/>
                  </a:cubicBezTo>
                  <a:cubicBezTo>
                    <a:pt x="533" y="666"/>
                    <a:pt x="533" y="666"/>
                    <a:pt x="533" y="666"/>
                  </a:cubicBezTo>
                  <a:cubicBezTo>
                    <a:pt x="531" y="666"/>
                    <a:pt x="530" y="664"/>
                    <a:pt x="530" y="662"/>
                  </a:cubicBezTo>
                  <a:cubicBezTo>
                    <a:pt x="530" y="593"/>
                    <a:pt x="530" y="593"/>
                    <a:pt x="530" y="593"/>
                  </a:cubicBezTo>
                  <a:cubicBezTo>
                    <a:pt x="582" y="634"/>
                    <a:pt x="582" y="634"/>
                    <a:pt x="582" y="634"/>
                  </a:cubicBezTo>
                  <a:cubicBezTo>
                    <a:pt x="605" y="634"/>
                    <a:pt x="605" y="634"/>
                    <a:pt x="605" y="634"/>
                  </a:cubicBezTo>
                  <a:cubicBezTo>
                    <a:pt x="612" y="649"/>
                    <a:pt x="627" y="660"/>
                    <a:pt x="645" y="660"/>
                  </a:cubicBezTo>
                  <a:cubicBezTo>
                    <a:pt x="663" y="660"/>
                    <a:pt x="678" y="649"/>
                    <a:pt x="685" y="634"/>
                  </a:cubicBezTo>
                  <a:cubicBezTo>
                    <a:pt x="709" y="634"/>
                    <a:pt x="709" y="634"/>
                    <a:pt x="709" y="634"/>
                  </a:cubicBezTo>
                  <a:cubicBezTo>
                    <a:pt x="760" y="594"/>
                    <a:pt x="760" y="594"/>
                    <a:pt x="760" y="594"/>
                  </a:cubicBezTo>
                  <a:lnTo>
                    <a:pt x="760" y="662"/>
                  </a:lnTo>
                  <a:close/>
                  <a:moveTo>
                    <a:pt x="637" y="616"/>
                  </a:moveTo>
                  <a:cubicBezTo>
                    <a:pt x="637" y="612"/>
                    <a:pt x="640" y="608"/>
                    <a:pt x="645" y="608"/>
                  </a:cubicBezTo>
                  <a:cubicBezTo>
                    <a:pt x="649" y="608"/>
                    <a:pt x="653" y="612"/>
                    <a:pt x="653" y="616"/>
                  </a:cubicBezTo>
                  <a:cubicBezTo>
                    <a:pt x="653" y="620"/>
                    <a:pt x="649" y="624"/>
                    <a:pt x="645" y="624"/>
                  </a:cubicBezTo>
                  <a:cubicBezTo>
                    <a:pt x="640" y="624"/>
                    <a:pt x="637" y="620"/>
                    <a:pt x="637" y="616"/>
                  </a:cubicBezTo>
                  <a:close/>
                  <a:moveTo>
                    <a:pt x="760" y="548"/>
                  </a:moveTo>
                  <a:cubicBezTo>
                    <a:pt x="696" y="598"/>
                    <a:pt x="696" y="598"/>
                    <a:pt x="696" y="598"/>
                  </a:cubicBezTo>
                  <a:cubicBezTo>
                    <a:pt x="685" y="598"/>
                    <a:pt x="685" y="598"/>
                    <a:pt x="685" y="598"/>
                  </a:cubicBezTo>
                  <a:cubicBezTo>
                    <a:pt x="678" y="583"/>
                    <a:pt x="663" y="572"/>
                    <a:pt x="645" y="572"/>
                  </a:cubicBezTo>
                  <a:cubicBezTo>
                    <a:pt x="627" y="572"/>
                    <a:pt x="612" y="583"/>
                    <a:pt x="605" y="598"/>
                  </a:cubicBezTo>
                  <a:cubicBezTo>
                    <a:pt x="594" y="598"/>
                    <a:pt x="594" y="598"/>
                    <a:pt x="594" y="598"/>
                  </a:cubicBezTo>
                  <a:cubicBezTo>
                    <a:pt x="530" y="547"/>
                    <a:pt x="530" y="547"/>
                    <a:pt x="530" y="547"/>
                  </a:cubicBezTo>
                  <a:cubicBezTo>
                    <a:pt x="530" y="491"/>
                    <a:pt x="530" y="491"/>
                    <a:pt x="530" y="491"/>
                  </a:cubicBezTo>
                  <a:cubicBezTo>
                    <a:pt x="531" y="491"/>
                    <a:pt x="532" y="491"/>
                    <a:pt x="533" y="491"/>
                  </a:cubicBezTo>
                  <a:cubicBezTo>
                    <a:pt x="583" y="491"/>
                    <a:pt x="583" y="491"/>
                    <a:pt x="583" y="491"/>
                  </a:cubicBezTo>
                  <a:cubicBezTo>
                    <a:pt x="583" y="418"/>
                    <a:pt x="583" y="418"/>
                    <a:pt x="583" y="418"/>
                  </a:cubicBezTo>
                  <a:cubicBezTo>
                    <a:pt x="583" y="415"/>
                    <a:pt x="584" y="413"/>
                    <a:pt x="586" y="412"/>
                  </a:cubicBezTo>
                  <a:cubicBezTo>
                    <a:pt x="586" y="424"/>
                    <a:pt x="586" y="424"/>
                    <a:pt x="586" y="424"/>
                  </a:cubicBezTo>
                  <a:cubicBezTo>
                    <a:pt x="586" y="454"/>
                    <a:pt x="610" y="478"/>
                    <a:pt x="640" y="478"/>
                  </a:cubicBezTo>
                  <a:cubicBezTo>
                    <a:pt x="669" y="478"/>
                    <a:pt x="693" y="454"/>
                    <a:pt x="693" y="424"/>
                  </a:cubicBezTo>
                  <a:cubicBezTo>
                    <a:pt x="693" y="414"/>
                    <a:pt x="693" y="414"/>
                    <a:pt x="693" y="414"/>
                  </a:cubicBezTo>
                  <a:cubicBezTo>
                    <a:pt x="694" y="415"/>
                    <a:pt x="695" y="416"/>
                    <a:pt x="695" y="418"/>
                  </a:cubicBezTo>
                  <a:cubicBezTo>
                    <a:pt x="695" y="491"/>
                    <a:pt x="695" y="491"/>
                    <a:pt x="695" y="491"/>
                  </a:cubicBezTo>
                  <a:cubicBezTo>
                    <a:pt x="757" y="491"/>
                    <a:pt x="757" y="491"/>
                    <a:pt x="757" y="491"/>
                  </a:cubicBezTo>
                  <a:cubicBezTo>
                    <a:pt x="758" y="491"/>
                    <a:pt x="759" y="491"/>
                    <a:pt x="760" y="492"/>
                  </a:cubicBezTo>
                  <a:lnTo>
                    <a:pt x="760" y="5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id="{EB028909-B820-484B-B802-294044D15F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6375" y="2170113"/>
              <a:ext cx="852487" cy="890588"/>
            </a:xfrm>
            <a:custGeom>
              <a:avLst/>
              <a:gdLst>
                <a:gd name="T0" fmla="*/ 114 w 227"/>
                <a:gd name="T1" fmla="*/ 238 h 238"/>
                <a:gd name="T2" fmla="*/ 227 w 227"/>
                <a:gd name="T3" fmla="*/ 119 h 238"/>
                <a:gd name="T4" fmla="*/ 114 w 227"/>
                <a:gd name="T5" fmla="*/ 0 h 238"/>
                <a:gd name="T6" fmla="*/ 0 w 227"/>
                <a:gd name="T7" fmla="*/ 119 h 238"/>
                <a:gd name="T8" fmla="*/ 114 w 227"/>
                <a:gd name="T9" fmla="*/ 238 h 238"/>
                <a:gd name="T10" fmla="*/ 114 w 227"/>
                <a:gd name="T11" fmla="*/ 36 h 238"/>
                <a:gd name="T12" fmla="*/ 191 w 227"/>
                <a:gd name="T13" fmla="*/ 119 h 238"/>
                <a:gd name="T14" fmla="*/ 114 w 227"/>
                <a:gd name="T15" fmla="*/ 202 h 238"/>
                <a:gd name="T16" fmla="*/ 36 w 227"/>
                <a:gd name="T17" fmla="*/ 119 h 238"/>
                <a:gd name="T18" fmla="*/ 114 w 227"/>
                <a:gd name="T19" fmla="*/ 36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38">
                  <a:moveTo>
                    <a:pt x="114" y="238"/>
                  </a:moveTo>
                  <a:cubicBezTo>
                    <a:pt x="176" y="238"/>
                    <a:pt x="227" y="185"/>
                    <a:pt x="227" y="119"/>
                  </a:cubicBezTo>
                  <a:cubicBezTo>
                    <a:pt x="227" y="53"/>
                    <a:pt x="176" y="0"/>
                    <a:pt x="114" y="0"/>
                  </a:cubicBezTo>
                  <a:cubicBezTo>
                    <a:pt x="51" y="0"/>
                    <a:pt x="0" y="53"/>
                    <a:pt x="0" y="119"/>
                  </a:cubicBezTo>
                  <a:cubicBezTo>
                    <a:pt x="0" y="185"/>
                    <a:pt x="51" y="238"/>
                    <a:pt x="114" y="238"/>
                  </a:cubicBezTo>
                  <a:close/>
                  <a:moveTo>
                    <a:pt x="114" y="36"/>
                  </a:moveTo>
                  <a:cubicBezTo>
                    <a:pt x="156" y="36"/>
                    <a:pt x="191" y="73"/>
                    <a:pt x="191" y="119"/>
                  </a:cubicBezTo>
                  <a:cubicBezTo>
                    <a:pt x="191" y="165"/>
                    <a:pt x="156" y="202"/>
                    <a:pt x="114" y="202"/>
                  </a:cubicBezTo>
                  <a:cubicBezTo>
                    <a:pt x="71" y="202"/>
                    <a:pt x="36" y="165"/>
                    <a:pt x="36" y="119"/>
                  </a:cubicBezTo>
                  <a:cubicBezTo>
                    <a:pt x="36" y="73"/>
                    <a:pt x="71" y="36"/>
                    <a:pt x="114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23">
              <a:extLst>
                <a:ext uri="{FF2B5EF4-FFF2-40B4-BE49-F238E27FC236}">
                  <a16:creationId xmlns:a16="http://schemas.microsoft.com/office/drawing/2014/main" id="{E89EB922-1C57-46E9-9246-89F50224D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3113" y="2170113"/>
              <a:ext cx="847725" cy="890588"/>
            </a:xfrm>
            <a:custGeom>
              <a:avLst/>
              <a:gdLst>
                <a:gd name="T0" fmla="*/ 113 w 226"/>
                <a:gd name="T1" fmla="*/ 238 h 238"/>
                <a:gd name="T2" fmla="*/ 226 w 226"/>
                <a:gd name="T3" fmla="*/ 119 h 238"/>
                <a:gd name="T4" fmla="*/ 113 w 226"/>
                <a:gd name="T5" fmla="*/ 0 h 238"/>
                <a:gd name="T6" fmla="*/ 0 w 226"/>
                <a:gd name="T7" fmla="*/ 119 h 238"/>
                <a:gd name="T8" fmla="*/ 113 w 226"/>
                <a:gd name="T9" fmla="*/ 238 h 238"/>
                <a:gd name="T10" fmla="*/ 113 w 226"/>
                <a:gd name="T11" fmla="*/ 36 h 238"/>
                <a:gd name="T12" fmla="*/ 190 w 226"/>
                <a:gd name="T13" fmla="*/ 119 h 238"/>
                <a:gd name="T14" fmla="*/ 113 w 226"/>
                <a:gd name="T15" fmla="*/ 202 h 238"/>
                <a:gd name="T16" fmla="*/ 36 w 226"/>
                <a:gd name="T17" fmla="*/ 119 h 238"/>
                <a:gd name="T18" fmla="*/ 113 w 226"/>
                <a:gd name="T19" fmla="*/ 36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238">
                  <a:moveTo>
                    <a:pt x="113" y="238"/>
                  </a:moveTo>
                  <a:cubicBezTo>
                    <a:pt x="176" y="238"/>
                    <a:pt x="226" y="185"/>
                    <a:pt x="226" y="119"/>
                  </a:cubicBezTo>
                  <a:cubicBezTo>
                    <a:pt x="226" y="53"/>
                    <a:pt x="176" y="0"/>
                    <a:pt x="113" y="0"/>
                  </a:cubicBezTo>
                  <a:cubicBezTo>
                    <a:pt x="51" y="0"/>
                    <a:pt x="0" y="53"/>
                    <a:pt x="0" y="119"/>
                  </a:cubicBezTo>
                  <a:cubicBezTo>
                    <a:pt x="0" y="185"/>
                    <a:pt x="51" y="238"/>
                    <a:pt x="113" y="238"/>
                  </a:cubicBezTo>
                  <a:close/>
                  <a:moveTo>
                    <a:pt x="113" y="36"/>
                  </a:moveTo>
                  <a:cubicBezTo>
                    <a:pt x="156" y="36"/>
                    <a:pt x="190" y="73"/>
                    <a:pt x="190" y="119"/>
                  </a:cubicBezTo>
                  <a:cubicBezTo>
                    <a:pt x="190" y="165"/>
                    <a:pt x="156" y="202"/>
                    <a:pt x="113" y="202"/>
                  </a:cubicBezTo>
                  <a:cubicBezTo>
                    <a:pt x="71" y="202"/>
                    <a:pt x="36" y="165"/>
                    <a:pt x="36" y="119"/>
                  </a:cubicBezTo>
                  <a:cubicBezTo>
                    <a:pt x="36" y="73"/>
                    <a:pt x="71" y="36"/>
                    <a:pt x="113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4">
              <a:extLst>
                <a:ext uri="{FF2B5EF4-FFF2-40B4-BE49-F238E27FC236}">
                  <a16:creationId xmlns:a16="http://schemas.microsoft.com/office/drawing/2014/main" id="{51DA197E-8991-4AC4-9136-7F316850F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6775" y="4532313"/>
              <a:ext cx="690562" cy="1508125"/>
            </a:xfrm>
            <a:custGeom>
              <a:avLst/>
              <a:gdLst>
                <a:gd name="T0" fmla="*/ 141 w 184"/>
                <a:gd name="T1" fmla="*/ 0 h 403"/>
                <a:gd name="T2" fmla="*/ 42 w 184"/>
                <a:gd name="T3" fmla="*/ 0 h 403"/>
                <a:gd name="T4" fmla="*/ 0 w 184"/>
                <a:gd name="T5" fmla="*/ 43 h 403"/>
                <a:gd name="T6" fmla="*/ 0 w 184"/>
                <a:gd name="T7" fmla="*/ 360 h 403"/>
                <a:gd name="T8" fmla="*/ 42 w 184"/>
                <a:gd name="T9" fmla="*/ 403 h 403"/>
                <a:gd name="T10" fmla="*/ 141 w 184"/>
                <a:gd name="T11" fmla="*/ 403 h 403"/>
                <a:gd name="T12" fmla="*/ 184 w 184"/>
                <a:gd name="T13" fmla="*/ 360 h 403"/>
                <a:gd name="T14" fmla="*/ 184 w 184"/>
                <a:gd name="T15" fmla="*/ 43 h 403"/>
                <a:gd name="T16" fmla="*/ 141 w 184"/>
                <a:gd name="T17" fmla="*/ 0 h 403"/>
                <a:gd name="T18" fmla="*/ 148 w 184"/>
                <a:gd name="T19" fmla="*/ 360 h 403"/>
                <a:gd name="T20" fmla="*/ 141 w 184"/>
                <a:gd name="T21" fmla="*/ 367 h 403"/>
                <a:gd name="T22" fmla="*/ 42 w 184"/>
                <a:gd name="T23" fmla="*/ 367 h 403"/>
                <a:gd name="T24" fmla="*/ 36 w 184"/>
                <a:gd name="T25" fmla="*/ 360 h 403"/>
                <a:gd name="T26" fmla="*/ 36 w 184"/>
                <a:gd name="T27" fmla="*/ 43 h 403"/>
                <a:gd name="T28" fmla="*/ 42 w 184"/>
                <a:gd name="T29" fmla="*/ 36 h 403"/>
                <a:gd name="T30" fmla="*/ 141 w 184"/>
                <a:gd name="T31" fmla="*/ 36 h 403"/>
                <a:gd name="T32" fmla="*/ 148 w 184"/>
                <a:gd name="T33" fmla="*/ 43 h 403"/>
                <a:gd name="T34" fmla="*/ 148 w 184"/>
                <a:gd name="T35" fmla="*/ 36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4" h="403">
                  <a:moveTo>
                    <a:pt x="141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384"/>
                    <a:pt x="19" y="403"/>
                    <a:pt x="42" y="403"/>
                  </a:cubicBezTo>
                  <a:cubicBezTo>
                    <a:pt x="141" y="403"/>
                    <a:pt x="141" y="403"/>
                    <a:pt x="141" y="403"/>
                  </a:cubicBezTo>
                  <a:cubicBezTo>
                    <a:pt x="165" y="403"/>
                    <a:pt x="184" y="384"/>
                    <a:pt x="184" y="360"/>
                  </a:cubicBezTo>
                  <a:cubicBezTo>
                    <a:pt x="184" y="43"/>
                    <a:pt x="184" y="43"/>
                    <a:pt x="184" y="43"/>
                  </a:cubicBezTo>
                  <a:cubicBezTo>
                    <a:pt x="184" y="19"/>
                    <a:pt x="165" y="0"/>
                    <a:pt x="141" y="0"/>
                  </a:cubicBezTo>
                  <a:close/>
                  <a:moveTo>
                    <a:pt x="148" y="360"/>
                  </a:moveTo>
                  <a:cubicBezTo>
                    <a:pt x="148" y="364"/>
                    <a:pt x="145" y="367"/>
                    <a:pt x="141" y="367"/>
                  </a:cubicBezTo>
                  <a:cubicBezTo>
                    <a:pt x="42" y="367"/>
                    <a:pt x="42" y="367"/>
                    <a:pt x="42" y="367"/>
                  </a:cubicBezTo>
                  <a:cubicBezTo>
                    <a:pt x="39" y="367"/>
                    <a:pt x="36" y="364"/>
                    <a:pt x="36" y="360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39"/>
                    <a:pt x="39" y="36"/>
                    <a:pt x="42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5" y="36"/>
                    <a:pt x="148" y="39"/>
                    <a:pt x="148" y="43"/>
                  </a:cubicBezTo>
                  <a:lnTo>
                    <a:pt x="148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6" name="Freeform 144">
            <a:extLst>
              <a:ext uri="{FF2B5EF4-FFF2-40B4-BE49-F238E27FC236}">
                <a16:creationId xmlns:a16="http://schemas.microsoft.com/office/drawing/2014/main" id="{B95C3BD3-7767-48D2-ABC9-6742E1F6900A}"/>
              </a:ext>
            </a:extLst>
          </p:cNvPr>
          <p:cNvSpPr>
            <a:spLocks noChangeAspect="1"/>
          </p:cNvSpPr>
          <p:nvPr/>
        </p:nvSpPr>
        <p:spPr bwMode="auto">
          <a:xfrm>
            <a:off x="975882" y="1255307"/>
            <a:ext cx="268610" cy="358932"/>
          </a:xfrm>
          <a:custGeom>
            <a:avLst/>
            <a:gdLst>
              <a:gd name="connsiteX0" fmla="*/ 1283187 w 3048451"/>
              <a:gd name="connsiteY0" fmla="*/ 1128994 h 4073526"/>
              <a:gd name="connsiteX1" fmla="*/ 1070743 w 3048451"/>
              <a:gd name="connsiteY1" fmla="*/ 1154257 h 4073526"/>
              <a:gd name="connsiteX2" fmla="*/ 673058 w 3048451"/>
              <a:gd name="connsiteY2" fmla="*/ 1232853 h 4073526"/>
              <a:gd name="connsiteX3" fmla="*/ 590519 w 3048451"/>
              <a:gd name="connsiteY3" fmla="*/ 1247824 h 4073526"/>
              <a:gd name="connsiteX4" fmla="*/ 474215 w 3048451"/>
              <a:gd name="connsiteY4" fmla="*/ 1322677 h 4073526"/>
              <a:gd name="connsiteX5" fmla="*/ 346655 w 3048451"/>
              <a:gd name="connsiteY5" fmla="*/ 1532265 h 4073526"/>
              <a:gd name="connsiteX6" fmla="*/ 162819 w 3048451"/>
              <a:gd name="connsiteY6" fmla="*/ 1820449 h 4073526"/>
              <a:gd name="connsiteX7" fmla="*/ 204088 w 3048451"/>
              <a:gd name="connsiteY7" fmla="*/ 2030038 h 4073526"/>
              <a:gd name="connsiteX8" fmla="*/ 312889 w 3048451"/>
              <a:gd name="connsiteY8" fmla="*/ 2048751 h 4073526"/>
              <a:gd name="connsiteX9" fmla="*/ 410435 w 3048451"/>
              <a:gd name="connsiteY9" fmla="*/ 1970155 h 4073526"/>
              <a:gd name="connsiteX10" fmla="*/ 477966 w 3048451"/>
              <a:gd name="connsiteY10" fmla="*/ 1861618 h 4073526"/>
              <a:gd name="connsiteX11" fmla="*/ 553001 w 3048451"/>
              <a:gd name="connsiteY11" fmla="*/ 1738111 h 4073526"/>
              <a:gd name="connsiteX12" fmla="*/ 586767 w 3048451"/>
              <a:gd name="connsiteY12" fmla="*/ 1685714 h 4073526"/>
              <a:gd name="connsiteX13" fmla="*/ 706823 w 3048451"/>
              <a:gd name="connsiteY13" fmla="*/ 1528522 h 4073526"/>
              <a:gd name="connsiteX14" fmla="*/ 890659 w 3048451"/>
              <a:gd name="connsiteY14" fmla="*/ 1476125 h 4073526"/>
              <a:gd name="connsiteX15" fmla="*/ 958191 w 3048451"/>
              <a:gd name="connsiteY15" fmla="*/ 1464897 h 4073526"/>
              <a:gd name="connsiteX16" fmla="*/ 961943 w 3048451"/>
              <a:gd name="connsiteY16" fmla="*/ 1464897 h 4073526"/>
              <a:gd name="connsiteX17" fmla="*/ 1055736 w 3048451"/>
              <a:gd name="connsiteY17" fmla="*/ 1446184 h 4073526"/>
              <a:gd name="connsiteX18" fmla="*/ 1097006 w 3048451"/>
              <a:gd name="connsiteY18" fmla="*/ 1442441 h 4073526"/>
              <a:gd name="connsiteX19" fmla="*/ 1115764 w 3048451"/>
              <a:gd name="connsiteY19" fmla="*/ 1438699 h 4073526"/>
              <a:gd name="connsiteX20" fmla="*/ 1175793 w 3048451"/>
              <a:gd name="connsiteY20" fmla="*/ 1461155 h 4073526"/>
              <a:gd name="connsiteX21" fmla="*/ 1190800 w 3048451"/>
              <a:gd name="connsiteY21" fmla="*/ 1521037 h 4073526"/>
              <a:gd name="connsiteX22" fmla="*/ 1187048 w 3048451"/>
              <a:gd name="connsiteY22" fmla="*/ 1543493 h 4073526"/>
              <a:gd name="connsiteX23" fmla="*/ 1179544 w 3048451"/>
              <a:gd name="connsiteY23" fmla="*/ 1584662 h 4073526"/>
              <a:gd name="connsiteX24" fmla="*/ 1123268 w 3048451"/>
              <a:gd name="connsiteY24" fmla="*/ 1820449 h 4073526"/>
              <a:gd name="connsiteX25" fmla="*/ 1010992 w 3048451"/>
              <a:gd name="connsiteY25" fmla="*/ 2287132 h 4073526"/>
              <a:gd name="connsiteX26" fmla="*/ 1010868 w 3048451"/>
              <a:gd name="connsiteY26" fmla="*/ 2288528 h 4073526"/>
              <a:gd name="connsiteX27" fmla="*/ 924492 w 3048451"/>
              <a:gd name="connsiteY27" fmla="*/ 2640401 h 4073526"/>
              <a:gd name="connsiteX28" fmla="*/ 785540 w 3048451"/>
              <a:gd name="connsiteY28" fmla="*/ 3186926 h 4073526"/>
              <a:gd name="connsiteX29" fmla="*/ 702919 w 3048451"/>
              <a:gd name="connsiteY29" fmla="*/ 3314199 h 4073526"/>
              <a:gd name="connsiteX30" fmla="*/ 372438 w 3048451"/>
              <a:gd name="connsiteY30" fmla="*/ 3550029 h 4073526"/>
              <a:gd name="connsiteX31" fmla="*/ 207197 w 3048451"/>
              <a:gd name="connsiteY31" fmla="*/ 3669815 h 4073526"/>
              <a:gd name="connsiteX32" fmla="*/ 135843 w 3048451"/>
              <a:gd name="connsiteY32" fmla="*/ 3812062 h 4073526"/>
              <a:gd name="connsiteX33" fmla="*/ 222219 w 3048451"/>
              <a:gd name="connsiteY33" fmla="*/ 3928105 h 4073526"/>
              <a:gd name="connsiteX34" fmla="*/ 364927 w 3048451"/>
              <a:gd name="connsiteY34" fmla="*/ 3909388 h 4073526"/>
              <a:gd name="connsiteX35" fmla="*/ 800561 w 3048451"/>
              <a:gd name="connsiteY35" fmla="*/ 3598692 h 4073526"/>
              <a:gd name="connsiteX36" fmla="*/ 830605 w 3048451"/>
              <a:gd name="connsiteY36" fmla="*/ 3576232 h 4073526"/>
              <a:gd name="connsiteX37" fmla="*/ 901959 w 3048451"/>
              <a:gd name="connsiteY37" fmla="*/ 3523826 h 4073526"/>
              <a:gd name="connsiteX38" fmla="*/ 1014623 w 3048451"/>
              <a:gd name="connsiteY38" fmla="*/ 3433986 h 4073526"/>
              <a:gd name="connsiteX39" fmla="*/ 1055933 w 3048451"/>
              <a:gd name="connsiteY39" fmla="*/ 3302969 h 4073526"/>
              <a:gd name="connsiteX40" fmla="*/ 1074711 w 3048451"/>
              <a:gd name="connsiteY40" fmla="*/ 3216873 h 4073526"/>
              <a:gd name="connsiteX41" fmla="*/ 1198641 w 3048451"/>
              <a:gd name="connsiteY41" fmla="*/ 2704037 h 4073526"/>
              <a:gd name="connsiteX42" fmla="*/ 1201074 w 3048451"/>
              <a:gd name="connsiteY42" fmla="*/ 2699544 h 4073526"/>
              <a:gd name="connsiteX43" fmla="*/ 1202055 w 3048451"/>
              <a:gd name="connsiteY43" fmla="*/ 2692488 h 4073526"/>
              <a:gd name="connsiteX44" fmla="*/ 1292097 w 3048451"/>
              <a:gd name="connsiteY44" fmla="*/ 2655061 h 4073526"/>
              <a:gd name="connsiteX45" fmla="*/ 1881122 w 3048451"/>
              <a:gd name="connsiteY45" fmla="*/ 2898333 h 4073526"/>
              <a:gd name="connsiteX46" fmla="*/ 1978668 w 3048451"/>
              <a:gd name="connsiteY46" fmla="*/ 3014356 h 4073526"/>
              <a:gd name="connsiteX47" fmla="*/ 2046200 w 3048451"/>
              <a:gd name="connsiteY47" fmla="*/ 3418562 h 4073526"/>
              <a:gd name="connsiteX48" fmla="*/ 2061206 w 3048451"/>
              <a:gd name="connsiteY48" fmla="*/ 3523356 h 4073526"/>
              <a:gd name="connsiteX49" fmla="*/ 2117483 w 3048451"/>
              <a:gd name="connsiteY49" fmla="*/ 3837739 h 4073526"/>
              <a:gd name="connsiteX50" fmla="*/ 2177511 w 3048451"/>
              <a:gd name="connsiteY50" fmla="*/ 3916335 h 4073526"/>
              <a:gd name="connsiteX51" fmla="*/ 2278808 w 3048451"/>
              <a:gd name="connsiteY51" fmla="*/ 3935048 h 4073526"/>
              <a:gd name="connsiteX52" fmla="*/ 2398864 w 3048451"/>
              <a:gd name="connsiteY52" fmla="*/ 3770371 h 4073526"/>
              <a:gd name="connsiteX53" fmla="*/ 2331333 w 3048451"/>
              <a:gd name="connsiteY53" fmla="*/ 3381135 h 4073526"/>
              <a:gd name="connsiteX54" fmla="*/ 2237539 w 3048451"/>
              <a:gd name="connsiteY54" fmla="*/ 2827223 h 4073526"/>
              <a:gd name="connsiteX55" fmla="*/ 2128738 w 3048451"/>
              <a:gd name="connsiteY55" fmla="*/ 2688745 h 4073526"/>
              <a:gd name="connsiteX56" fmla="*/ 1911136 w 3048451"/>
              <a:gd name="connsiteY56" fmla="*/ 2602664 h 4073526"/>
              <a:gd name="connsiteX57" fmla="*/ 1836101 w 3048451"/>
              <a:gd name="connsiteY57" fmla="*/ 2572723 h 4073526"/>
              <a:gd name="connsiteX58" fmla="*/ 1671024 w 3048451"/>
              <a:gd name="connsiteY58" fmla="*/ 2501612 h 4073526"/>
              <a:gd name="connsiteX59" fmla="*/ 1595989 w 3048451"/>
              <a:gd name="connsiteY59" fmla="*/ 2471671 h 4073526"/>
              <a:gd name="connsiteX60" fmla="*/ 1554720 w 3048451"/>
              <a:gd name="connsiteY60" fmla="*/ 2396818 h 4073526"/>
              <a:gd name="connsiteX61" fmla="*/ 1704790 w 3048451"/>
              <a:gd name="connsiteY61" fmla="*/ 1659515 h 4073526"/>
              <a:gd name="connsiteX62" fmla="*/ 1757314 w 3048451"/>
              <a:gd name="connsiteY62" fmla="*/ 1607118 h 4073526"/>
              <a:gd name="connsiteX63" fmla="*/ 1824846 w 3048451"/>
              <a:gd name="connsiteY63" fmla="*/ 1633317 h 4073526"/>
              <a:gd name="connsiteX64" fmla="*/ 1918640 w 3048451"/>
              <a:gd name="connsiteY64" fmla="*/ 1745596 h 4073526"/>
              <a:gd name="connsiteX65" fmla="*/ 2109979 w 3048451"/>
              <a:gd name="connsiteY65" fmla="*/ 1985126 h 4073526"/>
              <a:gd name="connsiteX66" fmla="*/ 2312574 w 3048451"/>
              <a:gd name="connsiteY66" fmla="*/ 2030038 h 4073526"/>
              <a:gd name="connsiteX67" fmla="*/ 2815309 w 3048451"/>
              <a:gd name="connsiteY67" fmla="*/ 1794251 h 4073526"/>
              <a:gd name="connsiteX68" fmla="*/ 2897848 w 3048451"/>
              <a:gd name="connsiteY68" fmla="*/ 1599633 h 4073526"/>
              <a:gd name="connsiteX69" fmla="*/ 2819061 w 3048451"/>
              <a:gd name="connsiteY69" fmla="*/ 1524780 h 4073526"/>
              <a:gd name="connsiteX70" fmla="*/ 2695253 w 3048451"/>
              <a:gd name="connsiteY70" fmla="*/ 1536008 h 4073526"/>
              <a:gd name="connsiteX71" fmla="*/ 2650232 w 3048451"/>
              <a:gd name="connsiteY71" fmla="*/ 1554721 h 4073526"/>
              <a:gd name="connsiteX72" fmla="*/ 2372602 w 3048451"/>
              <a:gd name="connsiteY72" fmla="*/ 1685714 h 4073526"/>
              <a:gd name="connsiteX73" fmla="*/ 2207525 w 3048451"/>
              <a:gd name="connsiteY73" fmla="*/ 1648287 h 4073526"/>
              <a:gd name="connsiteX74" fmla="*/ 2057455 w 3048451"/>
              <a:gd name="connsiteY74" fmla="*/ 1464897 h 4073526"/>
              <a:gd name="connsiteX75" fmla="*/ 1914888 w 3048451"/>
              <a:gd name="connsiteY75" fmla="*/ 1288993 h 4073526"/>
              <a:gd name="connsiteX76" fmla="*/ 1723549 w 3048451"/>
              <a:gd name="connsiteY76" fmla="*/ 1184198 h 4073526"/>
              <a:gd name="connsiteX77" fmla="*/ 1532209 w 3048451"/>
              <a:gd name="connsiteY77" fmla="*/ 1154257 h 4073526"/>
              <a:gd name="connsiteX78" fmla="*/ 1283187 w 3048451"/>
              <a:gd name="connsiteY78" fmla="*/ 1128994 h 4073526"/>
              <a:gd name="connsiteX79" fmla="*/ 1279435 w 3048451"/>
              <a:gd name="connsiteY79" fmla="*/ 995195 h 4073526"/>
              <a:gd name="connsiteX80" fmla="*/ 1554720 w 3048451"/>
              <a:gd name="connsiteY80" fmla="*/ 1023264 h 4073526"/>
              <a:gd name="connsiteX81" fmla="*/ 1734804 w 3048451"/>
              <a:gd name="connsiteY81" fmla="*/ 1049463 h 4073526"/>
              <a:gd name="connsiteX82" fmla="*/ 2019937 w 3048451"/>
              <a:gd name="connsiteY82" fmla="*/ 1202912 h 4073526"/>
              <a:gd name="connsiteX83" fmla="*/ 2162504 w 3048451"/>
              <a:gd name="connsiteY83" fmla="*/ 1378816 h 4073526"/>
              <a:gd name="connsiteX84" fmla="*/ 2312574 w 3048451"/>
              <a:gd name="connsiteY84" fmla="*/ 1565949 h 4073526"/>
              <a:gd name="connsiteX85" fmla="*/ 2593956 w 3048451"/>
              <a:gd name="connsiteY85" fmla="*/ 1431213 h 4073526"/>
              <a:gd name="connsiteX86" fmla="*/ 2638977 w 3048451"/>
              <a:gd name="connsiteY86" fmla="*/ 1412500 h 4073526"/>
              <a:gd name="connsiteX87" fmla="*/ 2860330 w 3048451"/>
              <a:gd name="connsiteY87" fmla="*/ 1397530 h 4073526"/>
              <a:gd name="connsiteX88" fmla="*/ 3021656 w 3048451"/>
              <a:gd name="connsiteY88" fmla="*/ 1543493 h 4073526"/>
              <a:gd name="connsiteX89" fmla="*/ 2871585 w 3048451"/>
              <a:gd name="connsiteY89" fmla="*/ 1917758 h 4073526"/>
              <a:gd name="connsiteX90" fmla="*/ 2368850 w 3048451"/>
              <a:gd name="connsiteY90" fmla="*/ 2153545 h 4073526"/>
              <a:gd name="connsiteX91" fmla="*/ 2004930 w 3048451"/>
              <a:gd name="connsiteY91" fmla="*/ 2071207 h 4073526"/>
              <a:gd name="connsiteX92" fmla="*/ 1809839 w 3048451"/>
              <a:gd name="connsiteY92" fmla="*/ 1831677 h 4073526"/>
              <a:gd name="connsiteX93" fmla="*/ 1809839 w 3048451"/>
              <a:gd name="connsiteY93" fmla="*/ 1827935 h 4073526"/>
              <a:gd name="connsiteX94" fmla="*/ 1697286 w 3048451"/>
              <a:gd name="connsiteY94" fmla="*/ 2366877 h 4073526"/>
              <a:gd name="connsiteX95" fmla="*/ 1723549 w 3048451"/>
              <a:gd name="connsiteY95" fmla="*/ 2378105 h 4073526"/>
              <a:gd name="connsiteX96" fmla="*/ 1888626 w 3048451"/>
              <a:gd name="connsiteY96" fmla="*/ 2445473 h 4073526"/>
              <a:gd name="connsiteX97" fmla="*/ 1963661 w 3048451"/>
              <a:gd name="connsiteY97" fmla="*/ 2475414 h 4073526"/>
              <a:gd name="connsiteX98" fmla="*/ 2173759 w 3048451"/>
              <a:gd name="connsiteY98" fmla="*/ 2561495 h 4073526"/>
              <a:gd name="connsiteX99" fmla="*/ 2372602 w 3048451"/>
              <a:gd name="connsiteY99" fmla="*/ 2804767 h 4073526"/>
              <a:gd name="connsiteX100" fmla="*/ 2466396 w 3048451"/>
              <a:gd name="connsiteY100" fmla="*/ 3358680 h 4073526"/>
              <a:gd name="connsiteX101" fmla="*/ 2530176 w 3048451"/>
              <a:gd name="connsiteY101" fmla="*/ 3747915 h 4073526"/>
              <a:gd name="connsiteX102" fmla="*/ 2305070 w 3048451"/>
              <a:gd name="connsiteY102" fmla="*/ 4066041 h 4073526"/>
              <a:gd name="connsiteX103" fmla="*/ 2252546 w 3048451"/>
              <a:gd name="connsiteY103" fmla="*/ 4073526 h 4073526"/>
              <a:gd name="connsiteX104" fmla="*/ 2106228 w 3048451"/>
              <a:gd name="connsiteY104" fmla="*/ 4032357 h 4073526"/>
              <a:gd name="connsiteX105" fmla="*/ 1986171 w 3048451"/>
              <a:gd name="connsiteY105" fmla="*/ 3863938 h 4073526"/>
              <a:gd name="connsiteX106" fmla="*/ 1929895 w 3048451"/>
              <a:gd name="connsiteY106" fmla="*/ 3545812 h 4073526"/>
              <a:gd name="connsiteX107" fmla="*/ 1911136 w 3048451"/>
              <a:gd name="connsiteY107" fmla="*/ 3441018 h 4073526"/>
              <a:gd name="connsiteX108" fmla="*/ 1843605 w 3048451"/>
              <a:gd name="connsiteY108" fmla="*/ 3033069 h 4073526"/>
              <a:gd name="connsiteX109" fmla="*/ 1843605 w 3048451"/>
              <a:gd name="connsiteY109" fmla="*/ 3025584 h 4073526"/>
              <a:gd name="connsiteX110" fmla="*/ 1832350 w 3048451"/>
              <a:gd name="connsiteY110" fmla="*/ 3021841 h 4073526"/>
              <a:gd name="connsiteX111" fmla="*/ 1375456 w 3048451"/>
              <a:gd name="connsiteY111" fmla="*/ 2837106 h 4073526"/>
              <a:gd name="connsiteX112" fmla="*/ 1313038 w 3048451"/>
              <a:gd name="connsiteY112" fmla="*/ 2811936 h 4073526"/>
              <a:gd name="connsiteX113" fmla="*/ 1304910 w 3048451"/>
              <a:gd name="connsiteY113" fmla="*/ 2846225 h 4073526"/>
              <a:gd name="connsiteX114" fmla="*/ 1206152 w 3048451"/>
              <a:gd name="connsiteY114" fmla="*/ 3246819 h 4073526"/>
              <a:gd name="connsiteX115" fmla="*/ 1187375 w 3048451"/>
              <a:gd name="connsiteY115" fmla="*/ 3332916 h 4073526"/>
              <a:gd name="connsiteX116" fmla="*/ 980824 w 3048451"/>
              <a:gd name="connsiteY116" fmla="*/ 3636125 h 4073526"/>
              <a:gd name="connsiteX117" fmla="*/ 909470 w 3048451"/>
              <a:gd name="connsiteY117" fmla="*/ 3684789 h 4073526"/>
              <a:gd name="connsiteX118" fmla="*/ 879426 w 3048451"/>
              <a:gd name="connsiteY118" fmla="*/ 3707249 h 4073526"/>
              <a:gd name="connsiteX119" fmla="*/ 440036 w 3048451"/>
              <a:gd name="connsiteY119" fmla="*/ 4017945 h 4073526"/>
              <a:gd name="connsiteX120" fmla="*/ 274795 w 3048451"/>
              <a:gd name="connsiteY120" fmla="*/ 4070351 h 4073526"/>
              <a:gd name="connsiteX121" fmla="*/ 169642 w 3048451"/>
              <a:gd name="connsiteY121" fmla="*/ 4051635 h 4073526"/>
              <a:gd name="connsiteX122" fmla="*/ 4402 w 3048451"/>
              <a:gd name="connsiteY122" fmla="*/ 3834522 h 4073526"/>
              <a:gd name="connsiteX123" fmla="*/ 128332 w 3048451"/>
              <a:gd name="connsiteY123" fmla="*/ 3557516 h 4073526"/>
              <a:gd name="connsiteX124" fmla="*/ 293573 w 3048451"/>
              <a:gd name="connsiteY124" fmla="*/ 3441472 h 4073526"/>
              <a:gd name="connsiteX125" fmla="*/ 624054 w 3048451"/>
              <a:gd name="connsiteY125" fmla="*/ 3201900 h 4073526"/>
              <a:gd name="connsiteX126" fmla="*/ 654098 w 3048451"/>
              <a:gd name="connsiteY126" fmla="*/ 3156980 h 4073526"/>
              <a:gd name="connsiteX127" fmla="*/ 793050 w 3048451"/>
              <a:gd name="connsiteY127" fmla="*/ 2606711 h 4073526"/>
              <a:gd name="connsiteX128" fmla="*/ 872942 w 3048451"/>
              <a:gd name="connsiteY128" fmla="*/ 2284748 h 4073526"/>
              <a:gd name="connsiteX129" fmla="*/ 879401 w 3048451"/>
              <a:gd name="connsiteY129" fmla="*/ 2258683 h 4073526"/>
              <a:gd name="connsiteX130" fmla="*/ 879404 w 3048451"/>
              <a:gd name="connsiteY130" fmla="*/ 2258340 h 4073526"/>
              <a:gd name="connsiteX131" fmla="*/ 991957 w 3048451"/>
              <a:gd name="connsiteY131" fmla="*/ 1790508 h 4073526"/>
              <a:gd name="connsiteX132" fmla="*/ 1040729 w 3048451"/>
              <a:gd name="connsiteY132" fmla="*/ 1588405 h 4073526"/>
              <a:gd name="connsiteX133" fmla="*/ 988205 w 3048451"/>
              <a:gd name="connsiteY133" fmla="*/ 1595890 h 4073526"/>
              <a:gd name="connsiteX134" fmla="*/ 984453 w 3048451"/>
              <a:gd name="connsiteY134" fmla="*/ 1599633 h 4073526"/>
              <a:gd name="connsiteX135" fmla="*/ 905666 w 3048451"/>
              <a:gd name="connsiteY135" fmla="*/ 1610861 h 4073526"/>
              <a:gd name="connsiteX136" fmla="*/ 781858 w 3048451"/>
              <a:gd name="connsiteY136" fmla="*/ 1640802 h 4073526"/>
              <a:gd name="connsiteX137" fmla="*/ 706823 w 3048451"/>
              <a:gd name="connsiteY137" fmla="*/ 1749339 h 4073526"/>
              <a:gd name="connsiteX138" fmla="*/ 669306 w 3048451"/>
              <a:gd name="connsiteY138" fmla="*/ 1812964 h 4073526"/>
              <a:gd name="connsiteX139" fmla="*/ 594271 w 3048451"/>
              <a:gd name="connsiteY139" fmla="*/ 1932729 h 4073526"/>
              <a:gd name="connsiteX140" fmla="*/ 522987 w 3048451"/>
              <a:gd name="connsiteY140" fmla="*/ 2045008 h 4073526"/>
              <a:gd name="connsiteX141" fmla="*/ 346655 w 3048451"/>
              <a:gd name="connsiteY141" fmla="*/ 2179744 h 4073526"/>
              <a:gd name="connsiteX142" fmla="*/ 129053 w 3048451"/>
              <a:gd name="connsiteY142" fmla="*/ 2142317 h 4073526"/>
              <a:gd name="connsiteX143" fmla="*/ 50266 w 3048451"/>
              <a:gd name="connsiteY143" fmla="*/ 1753082 h 4073526"/>
              <a:gd name="connsiteX144" fmla="*/ 230351 w 3048451"/>
              <a:gd name="connsiteY144" fmla="*/ 1461155 h 4073526"/>
              <a:gd name="connsiteX145" fmla="*/ 361662 w 3048451"/>
              <a:gd name="connsiteY145" fmla="*/ 1251566 h 4073526"/>
              <a:gd name="connsiteX146" fmla="*/ 564257 w 3048451"/>
              <a:gd name="connsiteY146" fmla="*/ 1113088 h 4073526"/>
              <a:gd name="connsiteX147" fmla="*/ 646795 w 3048451"/>
              <a:gd name="connsiteY147" fmla="*/ 1098117 h 4073526"/>
              <a:gd name="connsiteX148" fmla="*/ 1040729 w 3048451"/>
              <a:gd name="connsiteY148" fmla="*/ 1023264 h 4073526"/>
              <a:gd name="connsiteX149" fmla="*/ 1279435 w 3048451"/>
              <a:gd name="connsiteY149" fmla="*/ 995195 h 4073526"/>
              <a:gd name="connsiteX150" fmla="*/ 1693487 w 3048451"/>
              <a:gd name="connsiteY150" fmla="*/ 134938 h 4073526"/>
              <a:gd name="connsiteX151" fmla="*/ 1337163 w 3048451"/>
              <a:gd name="connsiteY151" fmla="*/ 487016 h 4073526"/>
              <a:gd name="connsiteX152" fmla="*/ 1689736 w 3048451"/>
              <a:gd name="connsiteY152" fmla="*/ 854076 h 4073526"/>
              <a:gd name="connsiteX153" fmla="*/ 1693487 w 3048451"/>
              <a:gd name="connsiteY153" fmla="*/ 854076 h 4073526"/>
              <a:gd name="connsiteX154" fmla="*/ 1948540 w 3048451"/>
              <a:gd name="connsiteY154" fmla="*/ 749202 h 4073526"/>
              <a:gd name="connsiteX155" fmla="*/ 2053561 w 3048451"/>
              <a:gd name="connsiteY155" fmla="*/ 494507 h 4073526"/>
              <a:gd name="connsiteX156" fmla="*/ 1697238 w 3048451"/>
              <a:gd name="connsiteY156" fmla="*/ 134938 h 4073526"/>
              <a:gd name="connsiteX157" fmla="*/ 1693487 w 3048451"/>
              <a:gd name="connsiteY157" fmla="*/ 134938 h 4073526"/>
              <a:gd name="connsiteX158" fmla="*/ 1693487 w 3048451"/>
              <a:gd name="connsiteY158" fmla="*/ 0 h 4073526"/>
              <a:gd name="connsiteX159" fmla="*/ 1697237 w 3048451"/>
              <a:gd name="connsiteY159" fmla="*/ 0 h 4073526"/>
              <a:gd name="connsiteX160" fmla="*/ 2188499 w 3048451"/>
              <a:gd name="connsiteY160" fmla="*/ 494507 h 4073526"/>
              <a:gd name="connsiteX161" fmla="*/ 2042245 w 3048451"/>
              <a:gd name="connsiteY161" fmla="*/ 842909 h 4073526"/>
              <a:gd name="connsiteX162" fmla="*/ 1693487 w 3048451"/>
              <a:gd name="connsiteY162" fmla="*/ 989013 h 4073526"/>
              <a:gd name="connsiteX163" fmla="*/ 1689737 w 3048451"/>
              <a:gd name="connsiteY163" fmla="*/ 989013 h 4073526"/>
              <a:gd name="connsiteX164" fmla="*/ 1202224 w 3048451"/>
              <a:gd name="connsiteY164" fmla="*/ 487014 h 4073526"/>
              <a:gd name="connsiteX165" fmla="*/ 1693487 w 3048451"/>
              <a:gd name="connsiteY165" fmla="*/ 0 h 4073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3048451" h="4073526">
                <a:moveTo>
                  <a:pt x="1283187" y="1128994"/>
                </a:moveTo>
                <a:cubicBezTo>
                  <a:pt x="1207683" y="1128994"/>
                  <a:pt x="1138275" y="1137415"/>
                  <a:pt x="1070743" y="1154257"/>
                </a:cubicBezTo>
                <a:cubicBezTo>
                  <a:pt x="939432" y="1184198"/>
                  <a:pt x="804369" y="1206654"/>
                  <a:pt x="673058" y="1232853"/>
                </a:cubicBezTo>
                <a:cubicBezTo>
                  <a:pt x="646795" y="1236596"/>
                  <a:pt x="616781" y="1240338"/>
                  <a:pt x="590519" y="1247824"/>
                </a:cubicBezTo>
                <a:cubicBezTo>
                  <a:pt x="537994" y="1255309"/>
                  <a:pt x="500477" y="1281507"/>
                  <a:pt x="474215" y="1322677"/>
                </a:cubicBezTo>
                <a:cubicBezTo>
                  <a:pt x="432945" y="1393787"/>
                  <a:pt x="387924" y="1461155"/>
                  <a:pt x="346655" y="1532265"/>
                </a:cubicBezTo>
                <a:cubicBezTo>
                  <a:pt x="286627" y="1625831"/>
                  <a:pt x="222847" y="1726883"/>
                  <a:pt x="162819" y="1820449"/>
                </a:cubicBezTo>
                <a:cubicBezTo>
                  <a:pt x="114046" y="1899045"/>
                  <a:pt x="129053" y="1985126"/>
                  <a:pt x="204088" y="2030038"/>
                </a:cubicBezTo>
                <a:cubicBezTo>
                  <a:pt x="237854" y="2052494"/>
                  <a:pt x="275372" y="2056236"/>
                  <a:pt x="312889" y="2048751"/>
                </a:cubicBezTo>
                <a:cubicBezTo>
                  <a:pt x="350407" y="2037523"/>
                  <a:pt x="384172" y="2011325"/>
                  <a:pt x="410435" y="1970155"/>
                </a:cubicBezTo>
                <a:cubicBezTo>
                  <a:pt x="432945" y="1932729"/>
                  <a:pt x="455456" y="1899045"/>
                  <a:pt x="477966" y="1861618"/>
                </a:cubicBezTo>
                <a:cubicBezTo>
                  <a:pt x="504229" y="1820449"/>
                  <a:pt x="530491" y="1779280"/>
                  <a:pt x="553001" y="1738111"/>
                </a:cubicBezTo>
                <a:cubicBezTo>
                  <a:pt x="564257" y="1723140"/>
                  <a:pt x="575512" y="1704427"/>
                  <a:pt x="586767" y="1685714"/>
                </a:cubicBezTo>
                <a:cubicBezTo>
                  <a:pt x="616781" y="1629574"/>
                  <a:pt x="650547" y="1569692"/>
                  <a:pt x="706823" y="1528522"/>
                </a:cubicBezTo>
                <a:cubicBezTo>
                  <a:pt x="763100" y="1491096"/>
                  <a:pt x="830631" y="1483611"/>
                  <a:pt x="890659" y="1476125"/>
                </a:cubicBezTo>
                <a:cubicBezTo>
                  <a:pt x="913170" y="1472383"/>
                  <a:pt x="935680" y="1472383"/>
                  <a:pt x="958191" y="1464897"/>
                </a:cubicBezTo>
                <a:cubicBezTo>
                  <a:pt x="961943" y="1464897"/>
                  <a:pt x="961943" y="1464897"/>
                  <a:pt x="961943" y="1464897"/>
                </a:cubicBezTo>
                <a:cubicBezTo>
                  <a:pt x="991957" y="1457412"/>
                  <a:pt x="1021971" y="1453669"/>
                  <a:pt x="1055736" y="1446184"/>
                </a:cubicBezTo>
                <a:cubicBezTo>
                  <a:pt x="1066992" y="1446184"/>
                  <a:pt x="1081999" y="1442441"/>
                  <a:pt x="1097006" y="1442441"/>
                </a:cubicBezTo>
                <a:cubicBezTo>
                  <a:pt x="1104509" y="1442441"/>
                  <a:pt x="1112013" y="1438699"/>
                  <a:pt x="1115764" y="1438699"/>
                </a:cubicBezTo>
                <a:cubicBezTo>
                  <a:pt x="1138275" y="1434956"/>
                  <a:pt x="1160786" y="1442441"/>
                  <a:pt x="1175793" y="1461155"/>
                </a:cubicBezTo>
                <a:cubicBezTo>
                  <a:pt x="1190800" y="1476125"/>
                  <a:pt x="1194551" y="1498581"/>
                  <a:pt x="1190800" y="1521037"/>
                </a:cubicBezTo>
                <a:cubicBezTo>
                  <a:pt x="1190800" y="1528522"/>
                  <a:pt x="1187048" y="1536008"/>
                  <a:pt x="1187048" y="1543493"/>
                </a:cubicBezTo>
                <a:cubicBezTo>
                  <a:pt x="1183296" y="1558464"/>
                  <a:pt x="1179544" y="1573434"/>
                  <a:pt x="1179544" y="1584662"/>
                </a:cubicBezTo>
                <a:cubicBezTo>
                  <a:pt x="1160786" y="1663258"/>
                  <a:pt x="1142027" y="1741854"/>
                  <a:pt x="1123268" y="1820449"/>
                </a:cubicBezTo>
                <a:lnTo>
                  <a:pt x="1010992" y="2287132"/>
                </a:lnTo>
                <a:lnTo>
                  <a:pt x="1010868" y="2288528"/>
                </a:lnTo>
                <a:cubicBezTo>
                  <a:pt x="995846" y="2352164"/>
                  <a:pt x="962047" y="2490668"/>
                  <a:pt x="924492" y="2640401"/>
                </a:cubicBezTo>
                <a:cubicBezTo>
                  <a:pt x="868160" y="2857514"/>
                  <a:pt x="808072" y="3100830"/>
                  <a:pt x="785540" y="3186926"/>
                </a:cubicBezTo>
                <a:cubicBezTo>
                  <a:pt x="774273" y="3243076"/>
                  <a:pt x="747985" y="3280509"/>
                  <a:pt x="702919" y="3314199"/>
                </a:cubicBezTo>
                <a:cubicBezTo>
                  <a:pt x="594011" y="3392809"/>
                  <a:pt x="481346" y="3471419"/>
                  <a:pt x="372438" y="3550029"/>
                </a:cubicBezTo>
                <a:cubicBezTo>
                  <a:pt x="316106" y="3587462"/>
                  <a:pt x="259774" y="3628639"/>
                  <a:pt x="207197" y="3669815"/>
                </a:cubicBezTo>
                <a:cubicBezTo>
                  <a:pt x="132088" y="3722222"/>
                  <a:pt x="128332" y="3778372"/>
                  <a:pt x="135843" y="3812062"/>
                </a:cubicBezTo>
                <a:cubicBezTo>
                  <a:pt x="143354" y="3864468"/>
                  <a:pt x="177153" y="3909388"/>
                  <a:pt x="222219" y="3928105"/>
                </a:cubicBezTo>
                <a:cubicBezTo>
                  <a:pt x="267285" y="3946821"/>
                  <a:pt x="319861" y="3939335"/>
                  <a:pt x="364927" y="3909388"/>
                </a:cubicBezTo>
                <a:cubicBezTo>
                  <a:pt x="511390" y="3808318"/>
                  <a:pt x="657854" y="3699762"/>
                  <a:pt x="800561" y="3598692"/>
                </a:cubicBezTo>
                <a:cubicBezTo>
                  <a:pt x="830605" y="3576232"/>
                  <a:pt x="830605" y="3576232"/>
                  <a:pt x="830605" y="3576232"/>
                </a:cubicBezTo>
                <a:cubicBezTo>
                  <a:pt x="856893" y="3557516"/>
                  <a:pt x="879426" y="3538799"/>
                  <a:pt x="901959" y="3523826"/>
                </a:cubicBezTo>
                <a:cubicBezTo>
                  <a:pt x="965802" y="3478906"/>
                  <a:pt x="999601" y="3456446"/>
                  <a:pt x="1014623" y="3433986"/>
                </a:cubicBezTo>
                <a:cubicBezTo>
                  <a:pt x="1029645" y="3411526"/>
                  <a:pt x="1037156" y="3374093"/>
                  <a:pt x="1055933" y="3302969"/>
                </a:cubicBezTo>
                <a:cubicBezTo>
                  <a:pt x="1059689" y="3276766"/>
                  <a:pt x="1067200" y="3250563"/>
                  <a:pt x="1074711" y="3216873"/>
                </a:cubicBezTo>
                <a:cubicBezTo>
                  <a:pt x="1100999" y="3108316"/>
                  <a:pt x="1176108" y="2808850"/>
                  <a:pt x="1198641" y="2704037"/>
                </a:cubicBezTo>
                <a:lnTo>
                  <a:pt x="1201074" y="2699544"/>
                </a:lnTo>
                <a:lnTo>
                  <a:pt x="1202055" y="2692488"/>
                </a:lnTo>
                <a:cubicBezTo>
                  <a:pt x="1217062" y="2658804"/>
                  <a:pt x="1258331" y="2640090"/>
                  <a:pt x="1292097" y="2655061"/>
                </a:cubicBezTo>
                <a:cubicBezTo>
                  <a:pt x="1468429" y="2729914"/>
                  <a:pt x="1663521" y="2808510"/>
                  <a:pt x="1881122" y="2898333"/>
                </a:cubicBezTo>
                <a:cubicBezTo>
                  <a:pt x="1937399" y="2920789"/>
                  <a:pt x="1971164" y="2958216"/>
                  <a:pt x="1978668" y="3014356"/>
                </a:cubicBezTo>
                <a:cubicBezTo>
                  <a:pt x="2001178" y="3152834"/>
                  <a:pt x="2023689" y="3291312"/>
                  <a:pt x="2046200" y="3418562"/>
                </a:cubicBezTo>
                <a:cubicBezTo>
                  <a:pt x="2049951" y="3452246"/>
                  <a:pt x="2057455" y="3489672"/>
                  <a:pt x="2061206" y="3523356"/>
                </a:cubicBezTo>
                <a:cubicBezTo>
                  <a:pt x="2079965" y="3628151"/>
                  <a:pt x="2094972" y="3732945"/>
                  <a:pt x="2117483" y="3837739"/>
                </a:cubicBezTo>
                <a:cubicBezTo>
                  <a:pt x="2124986" y="3867680"/>
                  <a:pt x="2147497" y="3897621"/>
                  <a:pt x="2177511" y="3916335"/>
                </a:cubicBezTo>
                <a:cubicBezTo>
                  <a:pt x="2207525" y="3935048"/>
                  <a:pt x="2245042" y="3942533"/>
                  <a:pt x="2278808" y="3935048"/>
                </a:cubicBezTo>
                <a:cubicBezTo>
                  <a:pt x="2357595" y="3916335"/>
                  <a:pt x="2410120" y="3845224"/>
                  <a:pt x="2398864" y="3770371"/>
                </a:cubicBezTo>
                <a:cubicBezTo>
                  <a:pt x="2376354" y="3643121"/>
                  <a:pt x="2353843" y="3512128"/>
                  <a:pt x="2331333" y="3381135"/>
                </a:cubicBezTo>
                <a:cubicBezTo>
                  <a:pt x="2301319" y="3197746"/>
                  <a:pt x="2267553" y="3014356"/>
                  <a:pt x="2237539" y="2827223"/>
                </a:cubicBezTo>
                <a:cubicBezTo>
                  <a:pt x="2226284" y="2752370"/>
                  <a:pt x="2192518" y="2711201"/>
                  <a:pt x="2128738" y="2688745"/>
                </a:cubicBezTo>
                <a:cubicBezTo>
                  <a:pt x="2053703" y="2658804"/>
                  <a:pt x="1982420" y="2628862"/>
                  <a:pt x="1911136" y="2602664"/>
                </a:cubicBezTo>
                <a:cubicBezTo>
                  <a:pt x="1884874" y="2591436"/>
                  <a:pt x="1862364" y="2580208"/>
                  <a:pt x="1836101" y="2572723"/>
                </a:cubicBezTo>
                <a:cubicBezTo>
                  <a:pt x="1779825" y="2550267"/>
                  <a:pt x="1727300" y="2527811"/>
                  <a:pt x="1671024" y="2501612"/>
                </a:cubicBezTo>
                <a:cubicBezTo>
                  <a:pt x="1595989" y="2471671"/>
                  <a:pt x="1595989" y="2471671"/>
                  <a:pt x="1595989" y="2471671"/>
                </a:cubicBezTo>
                <a:cubicBezTo>
                  <a:pt x="1565975" y="2460443"/>
                  <a:pt x="1547216" y="2426759"/>
                  <a:pt x="1554720" y="2396818"/>
                </a:cubicBezTo>
                <a:cubicBezTo>
                  <a:pt x="1704790" y="1659515"/>
                  <a:pt x="1704790" y="1659515"/>
                  <a:pt x="1704790" y="1659515"/>
                </a:cubicBezTo>
                <a:cubicBezTo>
                  <a:pt x="1712293" y="1633317"/>
                  <a:pt x="1731052" y="1614603"/>
                  <a:pt x="1757314" y="1607118"/>
                </a:cubicBezTo>
                <a:cubicBezTo>
                  <a:pt x="1779825" y="1603375"/>
                  <a:pt x="1809839" y="1610861"/>
                  <a:pt x="1824846" y="1633317"/>
                </a:cubicBezTo>
                <a:cubicBezTo>
                  <a:pt x="1854860" y="1670743"/>
                  <a:pt x="1888626" y="1708170"/>
                  <a:pt x="1918640" y="1745596"/>
                </a:cubicBezTo>
                <a:cubicBezTo>
                  <a:pt x="1982420" y="1827935"/>
                  <a:pt x="2046200" y="1906530"/>
                  <a:pt x="2109979" y="1985126"/>
                </a:cubicBezTo>
                <a:cubicBezTo>
                  <a:pt x="2170007" y="2056236"/>
                  <a:pt x="2226284" y="2071207"/>
                  <a:pt x="2312574" y="2030038"/>
                </a:cubicBezTo>
                <a:cubicBezTo>
                  <a:pt x="2473899" y="1955185"/>
                  <a:pt x="2638977" y="1880332"/>
                  <a:pt x="2815309" y="1794251"/>
                </a:cubicBezTo>
                <a:cubicBezTo>
                  <a:pt x="2901599" y="1756824"/>
                  <a:pt x="2935365" y="1678228"/>
                  <a:pt x="2897848" y="1599633"/>
                </a:cubicBezTo>
                <a:cubicBezTo>
                  <a:pt x="2882841" y="1562206"/>
                  <a:pt x="2852827" y="1536008"/>
                  <a:pt x="2819061" y="1524780"/>
                </a:cubicBezTo>
                <a:cubicBezTo>
                  <a:pt x="2781543" y="1509809"/>
                  <a:pt x="2736522" y="1517294"/>
                  <a:pt x="2695253" y="1536008"/>
                </a:cubicBezTo>
                <a:cubicBezTo>
                  <a:pt x="2650232" y="1554721"/>
                  <a:pt x="2650232" y="1554721"/>
                  <a:pt x="2650232" y="1554721"/>
                </a:cubicBezTo>
                <a:cubicBezTo>
                  <a:pt x="2560190" y="1595890"/>
                  <a:pt x="2462644" y="1640802"/>
                  <a:pt x="2372602" y="1685714"/>
                </a:cubicBezTo>
                <a:cubicBezTo>
                  <a:pt x="2275056" y="1734368"/>
                  <a:pt x="2226284" y="1670743"/>
                  <a:pt x="2207525" y="1648287"/>
                </a:cubicBezTo>
                <a:cubicBezTo>
                  <a:pt x="2158752" y="1588405"/>
                  <a:pt x="2106228" y="1524780"/>
                  <a:pt x="2057455" y="1464897"/>
                </a:cubicBezTo>
                <a:cubicBezTo>
                  <a:pt x="2008682" y="1405015"/>
                  <a:pt x="1959909" y="1348875"/>
                  <a:pt x="1914888" y="1288993"/>
                </a:cubicBezTo>
                <a:cubicBezTo>
                  <a:pt x="1862364" y="1225368"/>
                  <a:pt x="1802335" y="1191684"/>
                  <a:pt x="1723549" y="1184198"/>
                </a:cubicBezTo>
                <a:cubicBezTo>
                  <a:pt x="1656017" y="1176713"/>
                  <a:pt x="1588486" y="1165485"/>
                  <a:pt x="1532209" y="1154257"/>
                </a:cubicBezTo>
                <a:cubicBezTo>
                  <a:pt x="1440291" y="1137415"/>
                  <a:pt x="1358691" y="1128994"/>
                  <a:pt x="1283187" y="1128994"/>
                </a:cubicBezTo>
                <a:close/>
                <a:moveTo>
                  <a:pt x="1279435" y="995195"/>
                </a:moveTo>
                <a:cubicBezTo>
                  <a:pt x="1364318" y="995195"/>
                  <a:pt x="1455298" y="1004551"/>
                  <a:pt x="1554720" y="1023264"/>
                </a:cubicBezTo>
                <a:cubicBezTo>
                  <a:pt x="1610996" y="1030750"/>
                  <a:pt x="1674776" y="1041978"/>
                  <a:pt x="1734804" y="1049463"/>
                </a:cubicBezTo>
                <a:cubicBezTo>
                  <a:pt x="1851108" y="1060691"/>
                  <a:pt x="1944902" y="1113088"/>
                  <a:pt x="2019937" y="1202912"/>
                </a:cubicBezTo>
                <a:cubicBezTo>
                  <a:pt x="2064958" y="1262794"/>
                  <a:pt x="2113731" y="1322677"/>
                  <a:pt x="2162504" y="1378816"/>
                </a:cubicBezTo>
                <a:cubicBezTo>
                  <a:pt x="2211277" y="1438699"/>
                  <a:pt x="2263801" y="1502324"/>
                  <a:pt x="2312574" y="1565949"/>
                </a:cubicBezTo>
                <a:cubicBezTo>
                  <a:pt x="2406368" y="1517294"/>
                  <a:pt x="2503913" y="1476125"/>
                  <a:pt x="2593956" y="1431213"/>
                </a:cubicBezTo>
                <a:cubicBezTo>
                  <a:pt x="2638977" y="1412500"/>
                  <a:pt x="2638977" y="1412500"/>
                  <a:pt x="2638977" y="1412500"/>
                </a:cubicBezTo>
                <a:cubicBezTo>
                  <a:pt x="2710260" y="1378816"/>
                  <a:pt x="2789047" y="1371331"/>
                  <a:pt x="2860330" y="1397530"/>
                </a:cubicBezTo>
                <a:cubicBezTo>
                  <a:pt x="2931613" y="1419986"/>
                  <a:pt x="2987890" y="1472383"/>
                  <a:pt x="3021656" y="1543493"/>
                </a:cubicBezTo>
                <a:cubicBezTo>
                  <a:pt x="3089187" y="1689456"/>
                  <a:pt x="3025407" y="1846648"/>
                  <a:pt x="2871585" y="1917758"/>
                </a:cubicBezTo>
                <a:cubicBezTo>
                  <a:pt x="2695253" y="2000097"/>
                  <a:pt x="2530176" y="2078692"/>
                  <a:pt x="2368850" y="2153545"/>
                </a:cubicBezTo>
                <a:cubicBezTo>
                  <a:pt x="2226284" y="2217171"/>
                  <a:pt x="2106228" y="2190972"/>
                  <a:pt x="2004930" y="2071207"/>
                </a:cubicBezTo>
                <a:cubicBezTo>
                  <a:pt x="1941150" y="1992611"/>
                  <a:pt x="1877371" y="1914016"/>
                  <a:pt x="1809839" y="1831677"/>
                </a:cubicBezTo>
                <a:cubicBezTo>
                  <a:pt x="1809839" y="1827935"/>
                  <a:pt x="1809839" y="1827935"/>
                  <a:pt x="1809839" y="1827935"/>
                </a:cubicBezTo>
                <a:cubicBezTo>
                  <a:pt x="1697286" y="2366877"/>
                  <a:pt x="1697286" y="2366877"/>
                  <a:pt x="1697286" y="2366877"/>
                </a:cubicBezTo>
                <a:cubicBezTo>
                  <a:pt x="1723549" y="2378105"/>
                  <a:pt x="1723549" y="2378105"/>
                  <a:pt x="1723549" y="2378105"/>
                </a:cubicBezTo>
                <a:cubicBezTo>
                  <a:pt x="1776073" y="2400561"/>
                  <a:pt x="1832350" y="2423017"/>
                  <a:pt x="1888626" y="2445473"/>
                </a:cubicBezTo>
                <a:cubicBezTo>
                  <a:pt x="1911136" y="2456700"/>
                  <a:pt x="1937399" y="2467928"/>
                  <a:pt x="1963661" y="2475414"/>
                </a:cubicBezTo>
                <a:cubicBezTo>
                  <a:pt x="2031193" y="2505355"/>
                  <a:pt x="2102476" y="2535296"/>
                  <a:pt x="2173759" y="2561495"/>
                </a:cubicBezTo>
                <a:cubicBezTo>
                  <a:pt x="2286312" y="2602664"/>
                  <a:pt x="2350092" y="2685002"/>
                  <a:pt x="2372602" y="2804767"/>
                </a:cubicBezTo>
                <a:cubicBezTo>
                  <a:pt x="2402616" y="2991900"/>
                  <a:pt x="2432630" y="3175290"/>
                  <a:pt x="2466396" y="3358680"/>
                </a:cubicBezTo>
                <a:cubicBezTo>
                  <a:pt x="2485155" y="3489672"/>
                  <a:pt x="2507665" y="3620665"/>
                  <a:pt x="2530176" y="3747915"/>
                </a:cubicBezTo>
                <a:cubicBezTo>
                  <a:pt x="2556438" y="3893879"/>
                  <a:pt x="2455141" y="4032357"/>
                  <a:pt x="2305070" y="4066041"/>
                </a:cubicBezTo>
                <a:cubicBezTo>
                  <a:pt x="2286312" y="4069783"/>
                  <a:pt x="2271305" y="4073526"/>
                  <a:pt x="2252546" y="4073526"/>
                </a:cubicBezTo>
                <a:cubicBezTo>
                  <a:pt x="2200021" y="4073526"/>
                  <a:pt x="2151249" y="4058556"/>
                  <a:pt x="2106228" y="4032357"/>
                </a:cubicBezTo>
                <a:cubicBezTo>
                  <a:pt x="2046200" y="3991188"/>
                  <a:pt x="2001178" y="3935048"/>
                  <a:pt x="1986171" y="3863938"/>
                </a:cubicBezTo>
                <a:cubicBezTo>
                  <a:pt x="1963661" y="3759143"/>
                  <a:pt x="1944902" y="3650606"/>
                  <a:pt x="1929895" y="3545812"/>
                </a:cubicBezTo>
                <a:cubicBezTo>
                  <a:pt x="1922392" y="3512128"/>
                  <a:pt x="1918640" y="3474702"/>
                  <a:pt x="1911136" y="3441018"/>
                </a:cubicBezTo>
                <a:cubicBezTo>
                  <a:pt x="1888626" y="3313768"/>
                  <a:pt x="1866115" y="3175290"/>
                  <a:pt x="1843605" y="3033069"/>
                </a:cubicBezTo>
                <a:cubicBezTo>
                  <a:pt x="1843605" y="3029326"/>
                  <a:pt x="1843605" y="3029326"/>
                  <a:pt x="1843605" y="3025584"/>
                </a:cubicBezTo>
                <a:cubicBezTo>
                  <a:pt x="1843605" y="3025584"/>
                  <a:pt x="1839853" y="3025584"/>
                  <a:pt x="1832350" y="3021841"/>
                </a:cubicBezTo>
                <a:cubicBezTo>
                  <a:pt x="1666335" y="2954473"/>
                  <a:pt x="1515092" y="2893421"/>
                  <a:pt x="1375456" y="2837106"/>
                </a:cubicBezTo>
                <a:lnTo>
                  <a:pt x="1313038" y="2811936"/>
                </a:lnTo>
                <a:lnTo>
                  <a:pt x="1304910" y="2846225"/>
                </a:lnTo>
                <a:cubicBezTo>
                  <a:pt x="1273047" y="2978704"/>
                  <a:pt x="1225869" y="3165402"/>
                  <a:pt x="1206152" y="3246819"/>
                </a:cubicBezTo>
                <a:cubicBezTo>
                  <a:pt x="1198641" y="3280509"/>
                  <a:pt x="1191130" y="3310456"/>
                  <a:pt x="1187375" y="3332916"/>
                </a:cubicBezTo>
                <a:cubicBezTo>
                  <a:pt x="1146065" y="3508852"/>
                  <a:pt x="1134798" y="3523826"/>
                  <a:pt x="980824" y="3636125"/>
                </a:cubicBezTo>
                <a:cubicBezTo>
                  <a:pt x="958291" y="3647355"/>
                  <a:pt x="935758" y="3666072"/>
                  <a:pt x="909470" y="3684789"/>
                </a:cubicBezTo>
                <a:cubicBezTo>
                  <a:pt x="879426" y="3707249"/>
                  <a:pt x="879426" y="3707249"/>
                  <a:pt x="879426" y="3707249"/>
                </a:cubicBezTo>
                <a:cubicBezTo>
                  <a:pt x="736718" y="3808318"/>
                  <a:pt x="586500" y="3916875"/>
                  <a:pt x="440036" y="4017945"/>
                </a:cubicBezTo>
                <a:cubicBezTo>
                  <a:pt x="391215" y="4055378"/>
                  <a:pt x="331128" y="4070351"/>
                  <a:pt x="274795" y="4070351"/>
                </a:cubicBezTo>
                <a:cubicBezTo>
                  <a:pt x="237241" y="4070351"/>
                  <a:pt x="203442" y="4066608"/>
                  <a:pt x="169642" y="4051635"/>
                </a:cubicBezTo>
                <a:cubicBezTo>
                  <a:pt x="79511" y="4014201"/>
                  <a:pt x="19423" y="3931848"/>
                  <a:pt x="4402" y="3834522"/>
                </a:cubicBezTo>
                <a:cubicBezTo>
                  <a:pt x="-14376" y="3725965"/>
                  <a:pt x="26934" y="3628639"/>
                  <a:pt x="128332" y="3557516"/>
                </a:cubicBezTo>
                <a:cubicBezTo>
                  <a:pt x="180909" y="3520082"/>
                  <a:pt x="237241" y="3478906"/>
                  <a:pt x="293573" y="3441472"/>
                </a:cubicBezTo>
                <a:cubicBezTo>
                  <a:pt x="402482" y="3362863"/>
                  <a:pt x="515146" y="3280509"/>
                  <a:pt x="624054" y="3201900"/>
                </a:cubicBezTo>
                <a:cubicBezTo>
                  <a:pt x="642832" y="3190670"/>
                  <a:pt x="650343" y="3179440"/>
                  <a:pt x="654098" y="3156980"/>
                </a:cubicBezTo>
                <a:cubicBezTo>
                  <a:pt x="676631" y="3067140"/>
                  <a:pt x="736718" y="2823824"/>
                  <a:pt x="793050" y="2606711"/>
                </a:cubicBezTo>
                <a:cubicBezTo>
                  <a:pt x="825911" y="2478970"/>
                  <a:pt x="855896" y="2354095"/>
                  <a:pt x="872942" y="2284748"/>
                </a:cubicBezTo>
                <a:lnTo>
                  <a:pt x="879401" y="2258683"/>
                </a:lnTo>
                <a:lnTo>
                  <a:pt x="879404" y="2258340"/>
                </a:lnTo>
                <a:cubicBezTo>
                  <a:pt x="916922" y="2101148"/>
                  <a:pt x="954439" y="1943957"/>
                  <a:pt x="991957" y="1790508"/>
                </a:cubicBezTo>
                <a:cubicBezTo>
                  <a:pt x="1006964" y="1723140"/>
                  <a:pt x="1021971" y="1655773"/>
                  <a:pt x="1040729" y="1588405"/>
                </a:cubicBezTo>
                <a:cubicBezTo>
                  <a:pt x="1021971" y="1592147"/>
                  <a:pt x="1006964" y="1592147"/>
                  <a:pt x="988205" y="1595890"/>
                </a:cubicBezTo>
                <a:cubicBezTo>
                  <a:pt x="984453" y="1599633"/>
                  <a:pt x="984453" y="1599633"/>
                  <a:pt x="984453" y="1599633"/>
                </a:cubicBezTo>
                <a:cubicBezTo>
                  <a:pt x="958191" y="1603375"/>
                  <a:pt x="931929" y="1607118"/>
                  <a:pt x="905666" y="1610861"/>
                </a:cubicBezTo>
                <a:cubicBezTo>
                  <a:pt x="856893" y="1614603"/>
                  <a:pt x="811872" y="1622089"/>
                  <a:pt x="781858" y="1640802"/>
                </a:cubicBezTo>
                <a:cubicBezTo>
                  <a:pt x="751844" y="1659515"/>
                  <a:pt x="729334" y="1704427"/>
                  <a:pt x="706823" y="1749339"/>
                </a:cubicBezTo>
                <a:cubicBezTo>
                  <a:pt x="695568" y="1768052"/>
                  <a:pt x="680561" y="1790508"/>
                  <a:pt x="669306" y="1812964"/>
                </a:cubicBezTo>
                <a:cubicBezTo>
                  <a:pt x="643043" y="1850390"/>
                  <a:pt x="616781" y="1891560"/>
                  <a:pt x="594271" y="1932729"/>
                </a:cubicBezTo>
                <a:cubicBezTo>
                  <a:pt x="571760" y="1970155"/>
                  <a:pt x="545498" y="2007582"/>
                  <a:pt x="522987" y="2045008"/>
                </a:cubicBezTo>
                <a:cubicBezTo>
                  <a:pt x="477966" y="2112376"/>
                  <a:pt x="417938" y="2161031"/>
                  <a:pt x="346655" y="2179744"/>
                </a:cubicBezTo>
                <a:cubicBezTo>
                  <a:pt x="271620" y="2198457"/>
                  <a:pt x="196585" y="2183486"/>
                  <a:pt x="129053" y="2142317"/>
                </a:cubicBezTo>
                <a:cubicBezTo>
                  <a:pt x="-6010" y="2056236"/>
                  <a:pt x="-39776" y="1891560"/>
                  <a:pt x="50266" y="1753082"/>
                </a:cubicBezTo>
                <a:cubicBezTo>
                  <a:pt x="110294" y="1655773"/>
                  <a:pt x="170322" y="1554721"/>
                  <a:pt x="230351" y="1461155"/>
                </a:cubicBezTo>
                <a:cubicBezTo>
                  <a:pt x="275372" y="1390044"/>
                  <a:pt x="316641" y="1322677"/>
                  <a:pt x="361662" y="1251566"/>
                </a:cubicBezTo>
                <a:cubicBezTo>
                  <a:pt x="406683" y="1176713"/>
                  <a:pt x="474215" y="1131801"/>
                  <a:pt x="564257" y="1113088"/>
                </a:cubicBezTo>
                <a:cubicBezTo>
                  <a:pt x="594271" y="1109345"/>
                  <a:pt x="620533" y="1105603"/>
                  <a:pt x="646795" y="1098117"/>
                </a:cubicBezTo>
                <a:cubicBezTo>
                  <a:pt x="778107" y="1075662"/>
                  <a:pt x="909418" y="1053206"/>
                  <a:pt x="1040729" y="1023264"/>
                </a:cubicBezTo>
                <a:cubicBezTo>
                  <a:pt x="1115765" y="1004551"/>
                  <a:pt x="1194551" y="995195"/>
                  <a:pt x="1279435" y="995195"/>
                </a:cubicBezTo>
                <a:close/>
                <a:moveTo>
                  <a:pt x="1693487" y="134938"/>
                </a:moveTo>
                <a:cubicBezTo>
                  <a:pt x="1502197" y="134938"/>
                  <a:pt x="1337163" y="295995"/>
                  <a:pt x="1337163" y="487016"/>
                </a:cubicBezTo>
                <a:cubicBezTo>
                  <a:pt x="1333412" y="685528"/>
                  <a:pt x="1498446" y="850331"/>
                  <a:pt x="1689736" y="854076"/>
                </a:cubicBezTo>
                <a:cubicBezTo>
                  <a:pt x="1693487" y="854076"/>
                  <a:pt x="1693487" y="854076"/>
                  <a:pt x="1693487" y="854076"/>
                </a:cubicBezTo>
                <a:cubicBezTo>
                  <a:pt x="1791007" y="854076"/>
                  <a:pt x="1881026" y="816621"/>
                  <a:pt x="1948540" y="749202"/>
                </a:cubicBezTo>
                <a:cubicBezTo>
                  <a:pt x="2016054" y="681783"/>
                  <a:pt x="2053561" y="591890"/>
                  <a:pt x="2053561" y="494507"/>
                </a:cubicBezTo>
                <a:cubicBezTo>
                  <a:pt x="2057312" y="299741"/>
                  <a:pt x="1892278" y="134938"/>
                  <a:pt x="1697238" y="134938"/>
                </a:cubicBezTo>
                <a:cubicBezTo>
                  <a:pt x="1693487" y="134938"/>
                  <a:pt x="1693487" y="134938"/>
                  <a:pt x="1693487" y="134938"/>
                </a:cubicBezTo>
                <a:close/>
                <a:moveTo>
                  <a:pt x="1693487" y="0"/>
                </a:moveTo>
                <a:cubicBezTo>
                  <a:pt x="1693487" y="0"/>
                  <a:pt x="1697237" y="0"/>
                  <a:pt x="1697237" y="0"/>
                </a:cubicBezTo>
                <a:cubicBezTo>
                  <a:pt x="1970994" y="0"/>
                  <a:pt x="2192249" y="224776"/>
                  <a:pt x="2188499" y="494507"/>
                </a:cubicBezTo>
                <a:cubicBezTo>
                  <a:pt x="2188499" y="625626"/>
                  <a:pt x="2135998" y="752999"/>
                  <a:pt x="2042245" y="842909"/>
                </a:cubicBezTo>
                <a:cubicBezTo>
                  <a:pt x="1948493" y="936565"/>
                  <a:pt x="1824740" y="989013"/>
                  <a:pt x="1693487" y="989013"/>
                </a:cubicBezTo>
                <a:cubicBezTo>
                  <a:pt x="1693487" y="989013"/>
                  <a:pt x="1689737" y="989013"/>
                  <a:pt x="1689737" y="989013"/>
                </a:cubicBezTo>
                <a:cubicBezTo>
                  <a:pt x="1419730" y="985267"/>
                  <a:pt x="1198474" y="760491"/>
                  <a:pt x="1202224" y="487014"/>
                </a:cubicBezTo>
                <a:cubicBezTo>
                  <a:pt x="1202224" y="221029"/>
                  <a:pt x="1427230" y="0"/>
                  <a:pt x="169348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" name="Freeform 71">
            <a:extLst>
              <a:ext uri="{FF2B5EF4-FFF2-40B4-BE49-F238E27FC236}">
                <a16:creationId xmlns:a16="http://schemas.microsoft.com/office/drawing/2014/main" id="{C3E5A400-8D9C-4603-9082-70B3DB0949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89560" y="1287647"/>
            <a:ext cx="421863" cy="326592"/>
          </a:xfrm>
          <a:custGeom>
            <a:avLst/>
            <a:gdLst>
              <a:gd name="connsiteX0" fmla="*/ 3041651 w 3613151"/>
              <a:gd name="connsiteY0" fmla="*/ 1885949 h 2797176"/>
              <a:gd name="connsiteX1" fmla="*/ 2646363 w 3613151"/>
              <a:gd name="connsiteY1" fmla="*/ 2280443 h 2797176"/>
              <a:gd name="connsiteX2" fmla="*/ 3041651 w 3613151"/>
              <a:gd name="connsiteY2" fmla="*/ 2674937 h 2797176"/>
              <a:gd name="connsiteX3" fmla="*/ 3436939 w 3613151"/>
              <a:gd name="connsiteY3" fmla="*/ 2280443 h 2797176"/>
              <a:gd name="connsiteX4" fmla="*/ 3041651 w 3613151"/>
              <a:gd name="connsiteY4" fmla="*/ 1885949 h 2797176"/>
              <a:gd name="connsiteX5" fmla="*/ 382588 w 3613151"/>
              <a:gd name="connsiteY5" fmla="*/ 1830387 h 2797176"/>
              <a:gd name="connsiteX6" fmla="*/ 120650 w 3613151"/>
              <a:gd name="connsiteY6" fmla="*/ 2091531 h 2797176"/>
              <a:gd name="connsiteX7" fmla="*/ 382588 w 3613151"/>
              <a:gd name="connsiteY7" fmla="*/ 2352675 h 2797176"/>
              <a:gd name="connsiteX8" fmla="*/ 644526 w 3613151"/>
              <a:gd name="connsiteY8" fmla="*/ 2091531 h 2797176"/>
              <a:gd name="connsiteX9" fmla="*/ 382588 w 3613151"/>
              <a:gd name="connsiteY9" fmla="*/ 1830387 h 2797176"/>
              <a:gd name="connsiteX10" fmla="*/ 1689100 w 3613151"/>
              <a:gd name="connsiteY10" fmla="*/ 708024 h 2797176"/>
              <a:gd name="connsiteX11" fmla="*/ 1200150 w 3613151"/>
              <a:gd name="connsiteY11" fmla="*/ 1197768 h 2797176"/>
              <a:gd name="connsiteX12" fmla="*/ 1689100 w 3613151"/>
              <a:gd name="connsiteY12" fmla="*/ 1687512 h 2797176"/>
              <a:gd name="connsiteX13" fmla="*/ 2178050 w 3613151"/>
              <a:gd name="connsiteY13" fmla="*/ 1197768 h 2797176"/>
              <a:gd name="connsiteX14" fmla="*/ 1689100 w 3613151"/>
              <a:gd name="connsiteY14" fmla="*/ 708024 h 2797176"/>
              <a:gd name="connsiteX15" fmla="*/ 3184527 w 3613151"/>
              <a:gd name="connsiteY15" fmla="*/ 650874 h 2797176"/>
              <a:gd name="connsiteX16" fmla="*/ 2878139 w 3613151"/>
              <a:gd name="connsiteY16" fmla="*/ 959643 h 2797176"/>
              <a:gd name="connsiteX17" fmla="*/ 3184527 w 3613151"/>
              <a:gd name="connsiteY17" fmla="*/ 1268412 h 2797176"/>
              <a:gd name="connsiteX18" fmla="*/ 3490915 w 3613151"/>
              <a:gd name="connsiteY18" fmla="*/ 959643 h 2797176"/>
              <a:gd name="connsiteX19" fmla="*/ 3184527 w 3613151"/>
              <a:gd name="connsiteY19" fmla="*/ 650874 h 2797176"/>
              <a:gd name="connsiteX20" fmla="*/ 505621 w 3613151"/>
              <a:gd name="connsiteY20" fmla="*/ 122238 h 2797176"/>
              <a:gd name="connsiteX21" fmla="*/ 309564 w 3613151"/>
              <a:gd name="connsiteY21" fmla="*/ 318295 h 2797176"/>
              <a:gd name="connsiteX22" fmla="*/ 505621 w 3613151"/>
              <a:gd name="connsiteY22" fmla="*/ 514352 h 2797176"/>
              <a:gd name="connsiteX23" fmla="*/ 701678 w 3613151"/>
              <a:gd name="connsiteY23" fmla="*/ 318295 h 2797176"/>
              <a:gd name="connsiteX24" fmla="*/ 505621 w 3613151"/>
              <a:gd name="connsiteY24" fmla="*/ 122238 h 2797176"/>
              <a:gd name="connsiteX25" fmla="*/ 506414 w 3613151"/>
              <a:gd name="connsiteY25" fmla="*/ 0 h 2797176"/>
              <a:gd name="connsiteX26" fmla="*/ 823914 w 3613151"/>
              <a:gd name="connsiteY26" fmla="*/ 317500 h 2797176"/>
              <a:gd name="connsiteX27" fmla="*/ 798963 w 3613151"/>
              <a:gd name="connsiteY27" fmla="*/ 441085 h 2797176"/>
              <a:gd name="connsiteX28" fmla="*/ 789351 w 3613151"/>
              <a:gd name="connsiteY28" fmla="*/ 458794 h 2797176"/>
              <a:gd name="connsiteX29" fmla="*/ 1229167 w 3613151"/>
              <a:gd name="connsiteY29" fmla="*/ 800031 h 2797176"/>
              <a:gd name="connsiteX30" fmla="*/ 1256926 w 3613151"/>
              <a:gd name="connsiteY30" fmla="*/ 766387 h 2797176"/>
              <a:gd name="connsiteX31" fmla="*/ 1689101 w 3613151"/>
              <a:gd name="connsiteY31" fmla="*/ 587374 h 2797176"/>
              <a:gd name="connsiteX32" fmla="*/ 2287872 w 3613151"/>
              <a:gd name="connsiteY32" fmla="*/ 1075386 h 2797176"/>
              <a:gd name="connsiteX33" fmla="*/ 2289128 w 3613151"/>
              <a:gd name="connsiteY33" fmla="*/ 1087846 h 2797176"/>
              <a:gd name="connsiteX34" fmla="*/ 2759493 w 3613151"/>
              <a:gd name="connsiteY34" fmla="*/ 994608 h 2797176"/>
              <a:gd name="connsiteX35" fmla="*/ 2755901 w 3613151"/>
              <a:gd name="connsiteY35" fmla="*/ 958850 h 2797176"/>
              <a:gd name="connsiteX36" fmla="*/ 3184526 w 3613151"/>
              <a:gd name="connsiteY36" fmla="*/ 528637 h 2797176"/>
              <a:gd name="connsiteX37" fmla="*/ 3613151 w 3613151"/>
              <a:gd name="connsiteY37" fmla="*/ 958850 h 2797176"/>
              <a:gd name="connsiteX38" fmla="*/ 3184526 w 3613151"/>
              <a:gd name="connsiteY38" fmla="*/ 1389063 h 2797176"/>
              <a:gd name="connsiteX39" fmla="*/ 2789585 w 3613151"/>
              <a:gd name="connsiteY39" fmla="*/ 1126308 h 2797176"/>
              <a:gd name="connsiteX40" fmla="*/ 2786515 w 3613151"/>
              <a:gd name="connsiteY40" fmla="*/ 1116383 h 2797176"/>
              <a:gd name="connsiteX41" fmla="*/ 2299210 w 3613151"/>
              <a:gd name="connsiteY41" fmla="*/ 1209271 h 2797176"/>
              <a:gd name="connsiteX42" fmla="*/ 2287872 w 3613151"/>
              <a:gd name="connsiteY42" fmla="*/ 1321738 h 2797176"/>
              <a:gd name="connsiteX43" fmla="*/ 2211806 w 3613151"/>
              <a:gd name="connsiteY43" fmla="*/ 1515485 h 2797176"/>
              <a:gd name="connsiteX44" fmla="*/ 2173674 w 3613151"/>
              <a:gd name="connsiteY44" fmla="*/ 1567784 h 2797176"/>
              <a:gd name="connsiteX45" fmla="*/ 2669786 w 3613151"/>
              <a:gd name="connsiteY45" fmla="*/ 1923607 h 2797176"/>
              <a:gd name="connsiteX46" fmla="*/ 2676828 w 3613151"/>
              <a:gd name="connsiteY46" fmla="*/ 1915059 h 2797176"/>
              <a:gd name="connsiteX47" fmla="*/ 3041651 w 3613151"/>
              <a:gd name="connsiteY47" fmla="*/ 1763712 h 2797176"/>
              <a:gd name="connsiteX48" fmla="*/ 3557589 w 3613151"/>
              <a:gd name="connsiteY48" fmla="*/ 2280444 h 2797176"/>
              <a:gd name="connsiteX49" fmla="*/ 3041651 w 3613151"/>
              <a:gd name="connsiteY49" fmla="*/ 2797176 h 2797176"/>
              <a:gd name="connsiteX50" fmla="*/ 2525713 w 3613151"/>
              <a:gd name="connsiteY50" fmla="*/ 2280444 h 2797176"/>
              <a:gd name="connsiteX51" fmla="*/ 2566258 w 3613151"/>
              <a:gd name="connsiteY51" fmla="*/ 2079309 h 2797176"/>
              <a:gd name="connsiteX52" fmla="*/ 2597093 w 3613151"/>
              <a:gd name="connsiteY52" fmla="*/ 2022413 h 2797176"/>
              <a:gd name="connsiteX53" fmla="*/ 2089011 w 3613151"/>
              <a:gd name="connsiteY53" fmla="*/ 1659310 h 2797176"/>
              <a:gd name="connsiteX54" fmla="*/ 2077874 w 3613151"/>
              <a:gd name="connsiteY54" fmla="*/ 1670184 h 2797176"/>
              <a:gd name="connsiteX55" fmla="*/ 1689101 w 3613151"/>
              <a:gd name="connsiteY55" fmla="*/ 1809750 h 2797176"/>
              <a:gd name="connsiteX56" fmla="*/ 1256926 w 3613151"/>
              <a:gd name="connsiteY56" fmla="*/ 1630737 h 2797176"/>
              <a:gd name="connsiteX57" fmla="*/ 1245267 w 3613151"/>
              <a:gd name="connsiteY57" fmla="*/ 1616606 h 2797176"/>
              <a:gd name="connsiteX58" fmla="*/ 739466 w 3613151"/>
              <a:gd name="connsiteY58" fmla="*/ 1956362 h 2797176"/>
              <a:gd name="connsiteX59" fmla="*/ 757403 w 3613151"/>
              <a:gd name="connsiteY59" fmla="*/ 2014266 h 2797176"/>
              <a:gd name="connsiteX60" fmla="*/ 765176 w 3613151"/>
              <a:gd name="connsiteY60" fmla="*/ 2091531 h 2797176"/>
              <a:gd name="connsiteX61" fmla="*/ 382588 w 3613151"/>
              <a:gd name="connsiteY61" fmla="*/ 2474913 h 2797176"/>
              <a:gd name="connsiteX62" fmla="*/ 0 w 3613151"/>
              <a:gd name="connsiteY62" fmla="*/ 2091531 h 2797176"/>
              <a:gd name="connsiteX63" fmla="*/ 382588 w 3613151"/>
              <a:gd name="connsiteY63" fmla="*/ 1708149 h 2797176"/>
              <a:gd name="connsiteX64" fmla="*/ 653119 w 3613151"/>
              <a:gd name="connsiteY64" fmla="*/ 1820439 h 2797176"/>
              <a:gd name="connsiteX65" fmla="*/ 677974 w 3613151"/>
              <a:gd name="connsiteY65" fmla="*/ 1850626 h 2797176"/>
              <a:gd name="connsiteX66" fmla="*/ 1170497 w 3613151"/>
              <a:gd name="connsiteY66" fmla="*/ 1518547 h 2797176"/>
              <a:gd name="connsiteX67" fmla="*/ 1125943 w 3613151"/>
              <a:gd name="connsiteY67" fmla="*/ 1436464 h 2797176"/>
              <a:gd name="connsiteX68" fmla="*/ 1077913 w 3613151"/>
              <a:gd name="connsiteY68" fmla="*/ 1198562 h 2797176"/>
              <a:gd name="connsiteX69" fmla="*/ 1125943 w 3613151"/>
              <a:gd name="connsiteY69" fmla="*/ 960660 h 2797176"/>
              <a:gd name="connsiteX70" fmla="*/ 1158779 w 3613151"/>
              <a:gd name="connsiteY70" fmla="*/ 900164 h 2797176"/>
              <a:gd name="connsiteX71" fmla="*/ 716145 w 3613151"/>
              <a:gd name="connsiteY71" fmla="*/ 554197 h 2797176"/>
              <a:gd name="connsiteX72" fmla="*/ 683931 w 3613151"/>
              <a:gd name="connsiteY72" fmla="*/ 580776 h 2797176"/>
              <a:gd name="connsiteX73" fmla="*/ 506414 w 3613151"/>
              <a:gd name="connsiteY73" fmla="*/ 635000 h 2797176"/>
              <a:gd name="connsiteX74" fmla="*/ 188914 w 3613151"/>
              <a:gd name="connsiteY74" fmla="*/ 317500 h 2797176"/>
              <a:gd name="connsiteX75" fmla="*/ 506414 w 3613151"/>
              <a:gd name="connsiteY75" fmla="*/ 0 h 2797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3613151" h="2797176">
                <a:moveTo>
                  <a:pt x="3041651" y="1885949"/>
                </a:moveTo>
                <a:cubicBezTo>
                  <a:pt x="2823339" y="1885949"/>
                  <a:pt x="2646363" y="2062570"/>
                  <a:pt x="2646363" y="2280443"/>
                </a:cubicBezTo>
                <a:cubicBezTo>
                  <a:pt x="2646363" y="2498316"/>
                  <a:pt x="2823339" y="2674937"/>
                  <a:pt x="3041651" y="2674937"/>
                </a:cubicBezTo>
                <a:cubicBezTo>
                  <a:pt x="3259963" y="2674937"/>
                  <a:pt x="3436939" y="2498316"/>
                  <a:pt x="3436939" y="2280443"/>
                </a:cubicBezTo>
                <a:cubicBezTo>
                  <a:pt x="3436939" y="2062570"/>
                  <a:pt x="3259963" y="1885949"/>
                  <a:pt x="3041651" y="1885949"/>
                </a:cubicBezTo>
                <a:close/>
                <a:moveTo>
                  <a:pt x="382588" y="1830387"/>
                </a:moveTo>
                <a:cubicBezTo>
                  <a:pt x="237924" y="1830387"/>
                  <a:pt x="120650" y="1947305"/>
                  <a:pt x="120650" y="2091531"/>
                </a:cubicBezTo>
                <a:cubicBezTo>
                  <a:pt x="120650" y="2235757"/>
                  <a:pt x="237924" y="2352675"/>
                  <a:pt x="382588" y="2352675"/>
                </a:cubicBezTo>
                <a:cubicBezTo>
                  <a:pt x="527252" y="2352675"/>
                  <a:pt x="644526" y="2235757"/>
                  <a:pt x="644526" y="2091531"/>
                </a:cubicBezTo>
                <a:cubicBezTo>
                  <a:pt x="644526" y="1947305"/>
                  <a:pt x="527252" y="1830387"/>
                  <a:pt x="382588" y="1830387"/>
                </a:cubicBezTo>
                <a:close/>
                <a:moveTo>
                  <a:pt x="1689100" y="708024"/>
                </a:moveTo>
                <a:cubicBezTo>
                  <a:pt x="1419060" y="708024"/>
                  <a:pt x="1200150" y="927290"/>
                  <a:pt x="1200150" y="1197768"/>
                </a:cubicBezTo>
                <a:cubicBezTo>
                  <a:pt x="1200150" y="1468246"/>
                  <a:pt x="1419060" y="1687512"/>
                  <a:pt x="1689100" y="1687512"/>
                </a:cubicBezTo>
                <a:cubicBezTo>
                  <a:pt x="1959140" y="1687512"/>
                  <a:pt x="2178050" y="1468246"/>
                  <a:pt x="2178050" y="1197768"/>
                </a:cubicBezTo>
                <a:cubicBezTo>
                  <a:pt x="2178050" y="927290"/>
                  <a:pt x="1959140" y="708024"/>
                  <a:pt x="1689100" y="708024"/>
                </a:cubicBezTo>
                <a:close/>
                <a:moveTo>
                  <a:pt x="3184527" y="650874"/>
                </a:moveTo>
                <a:cubicBezTo>
                  <a:pt x="3015314" y="650874"/>
                  <a:pt x="2878139" y="789115"/>
                  <a:pt x="2878139" y="959643"/>
                </a:cubicBezTo>
                <a:cubicBezTo>
                  <a:pt x="2878139" y="1130171"/>
                  <a:pt x="3015314" y="1268412"/>
                  <a:pt x="3184527" y="1268412"/>
                </a:cubicBezTo>
                <a:cubicBezTo>
                  <a:pt x="3353740" y="1268412"/>
                  <a:pt x="3490915" y="1130171"/>
                  <a:pt x="3490915" y="959643"/>
                </a:cubicBezTo>
                <a:cubicBezTo>
                  <a:pt x="3490915" y="789115"/>
                  <a:pt x="3353740" y="650874"/>
                  <a:pt x="3184527" y="650874"/>
                </a:cubicBezTo>
                <a:close/>
                <a:moveTo>
                  <a:pt x="505621" y="122238"/>
                </a:moveTo>
                <a:cubicBezTo>
                  <a:pt x="397342" y="122238"/>
                  <a:pt x="309564" y="210016"/>
                  <a:pt x="309564" y="318295"/>
                </a:cubicBezTo>
                <a:cubicBezTo>
                  <a:pt x="309564" y="426574"/>
                  <a:pt x="397342" y="514352"/>
                  <a:pt x="505621" y="514352"/>
                </a:cubicBezTo>
                <a:cubicBezTo>
                  <a:pt x="613900" y="514352"/>
                  <a:pt x="701678" y="426574"/>
                  <a:pt x="701678" y="318295"/>
                </a:cubicBezTo>
                <a:cubicBezTo>
                  <a:pt x="701678" y="210016"/>
                  <a:pt x="613900" y="122238"/>
                  <a:pt x="505621" y="122238"/>
                </a:cubicBezTo>
                <a:close/>
                <a:moveTo>
                  <a:pt x="506414" y="0"/>
                </a:moveTo>
                <a:cubicBezTo>
                  <a:pt x="681764" y="0"/>
                  <a:pt x="823914" y="142150"/>
                  <a:pt x="823914" y="317500"/>
                </a:cubicBezTo>
                <a:cubicBezTo>
                  <a:pt x="823914" y="361337"/>
                  <a:pt x="815030" y="403100"/>
                  <a:pt x="798963" y="441085"/>
                </a:cubicBezTo>
                <a:lnTo>
                  <a:pt x="789351" y="458794"/>
                </a:lnTo>
                <a:lnTo>
                  <a:pt x="1229167" y="800031"/>
                </a:lnTo>
                <a:lnTo>
                  <a:pt x="1256926" y="766387"/>
                </a:lnTo>
                <a:cubicBezTo>
                  <a:pt x="1367529" y="655783"/>
                  <a:pt x="1520326" y="587374"/>
                  <a:pt x="1689101" y="587374"/>
                </a:cubicBezTo>
                <a:cubicBezTo>
                  <a:pt x="1984458" y="587374"/>
                  <a:pt x="2230881" y="796878"/>
                  <a:pt x="2287872" y="1075386"/>
                </a:cubicBezTo>
                <a:lnTo>
                  <a:pt x="2289128" y="1087846"/>
                </a:lnTo>
                <a:lnTo>
                  <a:pt x="2759493" y="994608"/>
                </a:lnTo>
                <a:lnTo>
                  <a:pt x="2755901" y="958850"/>
                </a:lnTo>
                <a:cubicBezTo>
                  <a:pt x="2755901" y="721250"/>
                  <a:pt x="2947803" y="528637"/>
                  <a:pt x="3184526" y="528637"/>
                </a:cubicBezTo>
                <a:cubicBezTo>
                  <a:pt x="3421249" y="528637"/>
                  <a:pt x="3613151" y="721250"/>
                  <a:pt x="3613151" y="958850"/>
                </a:cubicBezTo>
                <a:cubicBezTo>
                  <a:pt x="3613151" y="1196450"/>
                  <a:pt x="3421249" y="1389063"/>
                  <a:pt x="3184526" y="1389063"/>
                </a:cubicBezTo>
                <a:cubicBezTo>
                  <a:pt x="3006984" y="1389063"/>
                  <a:pt x="2854654" y="1280718"/>
                  <a:pt x="2789585" y="1126308"/>
                </a:cubicBezTo>
                <a:lnTo>
                  <a:pt x="2786515" y="1116383"/>
                </a:lnTo>
                <a:lnTo>
                  <a:pt x="2299210" y="1209271"/>
                </a:lnTo>
                <a:lnTo>
                  <a:pt x="2287872" y="1321738"/>
                </a:lnTo>
                <a:cubicBezTo>
                  <a:pt x="2273624" y="1391365"/>
                  <a:pt x="2247537" y="1456679"/>
                  <a:pt x="2211806" y="1515485"/>
                </a:cubicBezTo>
                <a:lnTo>
                  <a:pt x="2173674" y="1567784"/>
                </a:lnTo>
                <a:lnTo>
                  <a:pt x="2669786" y="1923607"/>
                </a:lnTo>
                <a:lnTo>
                  <a:pt x="2676828" y="1915059"/>
                </a:lnTo>
                <a:cubicBezTo>
                  <a:pt x="2770194" y="1821549"/>
                  <a:pt x="2899179" y="1763712"/>
                  <a:pt x="3041651" y="1763712"/>
                </a:cubicBezTo>
                <a:cubicBezTo>
                  <a:pt x="3326596" y="1763712"/>
                  <a:pt x="3557589" y="1995061"/>
                  <a:pt x="3557589" y="2280444"/>
                </a:cubicBezTo>
                <a:cubicBezTo>
                  <a:pt x="3557589" y="2565827"/>
                  <a:pt x="3326596" y="2797176"/>
                  <a:pt x="3041651" y="2797176"/>
                </a:cubicBezTo>
                <a:cubicBezTo>
                  <a:pt x="2756706" y="2797176"/>
                  <a:pt x="2525713" y="2565827"/>
                  <a:pt x="2525713" y="2280444"/>
                </a:cubicBezTo>
                <a:cubicBezTo>
                  <a:pt x="2525713" y="2209098"/>
                  <a:pt x="2540150" y="2141130"/>
                  <a:pt x="2566258" y="2079309"/>
                </a:cubicBezTo>
                <a:lnTo>
                  <a:pt x="2597093" y="2022413"/>
                </a:lnTo>
                <a:lnTo>
                  <a:pt x="2089011" y="1659310"/>
                </a:lnTo>
                <a:lnTo>
                  <a:pt x="2077874" y="1670184"/>
                </a:lnTo>
                <a:cubicBezTo>
                  <a:pt x="1972225" y="1757374"/>
                  <a:pt x="1836780" y="1809750"/>
                  <a:pt x="1689101" y="1809750"/>
                </a:cubicBezTo>
                <a:cubicBezTo>
                  <a:pt x="1520326" y="1809750"/>
                  <a:pt x="1367529" y="1741341"/>
                  <a:pt x="1256926" y="1630737"/>
                </a:cubicBezTo>
                <a:lnTo>
                  <a:pt x="1245267" y="1616606"/>
                </a:lnTo>
                <a:lnTo>
                  <a:pt x="739466" y="1956362"/>
                </a:lnTo>
                <a:lnTo>
                  <a:pt x="757403" y="2014266"/>
                </a:lnTo>
                <a:cubicBezTo>
                  <a:pt x="762500" y="2039224"/>
                  <a:pt x="765176" y="2065064"/>
                  <a:pt x="765176" y="2091531"/>
                </a:cubicBezTo>
                <a:cubicBezTo>
                  <a:pt x="765176" y="2303267"/>
                  <a:pt x="593886" y="2474913"/>
                  <a:pt x="382588" y="2474913"/>
                </a:cubicBezTo>
                <a:cubicBezTo>
                  <a:pt x="171290" y="2474913"/>
                  <a:pt x="0" y="2303267"/>
                  <a:pt x="0" y="2091531"/>
                </a:cubicBezTo>
                <a:cubicBezTo>
                  <a:pt x="0" y="1879795"/>
                  <a:pt x="171290" y="1708149"/>
                  <a:pt x="382588" y="1708149"/>
                </a:cubicBezTo>
                <a:cubicBezTo>
                  <a:pt x="488237" y="1708149"/>
                  <a:pt x="583884" y="1751061"/>
                  <a:pt x="653119" y="1820439"/>
                </a:cubicBezTo>
                <a:lnTo>
                  <a:pt x="677974" y="1850626"/>
                </a:lnTo>
                <a:lnTo>
                  <a:pt x="1170497" y="1518547"/>
                </a:lnTo>
                <a:lnTo>
                  <a:pt x="1125943" y="1436464"/>
                </a:lnTo>
                <a:cubicBezTo>
                  <a:pt x="1095016" y="1363342"/>
                  <a:pt x="1077913" y="1282949"/>
                  <a:pt x="1077913" y="1198562"/>
                </a:cubicBezTo>
                <a:cubicBezTo>
                  <a:pt x="1077913" y="1114174"/>
                  <a:pt x="1095016" y="1033781"/>
                  <a:pt x="1125943" y="960660"/>
                </a:cubicBezTo>
                <a:lnTo>
                  <a:pt x="1158779" y="900164"/>
                </a:lnTo>
                <a:lnTo>
                  <a:pt x="716145" y="554197"/>
                </a:lnTo>
                <a:lnTo>
                  <a:pt x="683931" y="580776"/>
                </a:lnTo>
                <a:cubicBezTo>
                  <a:pt x="633258" y="615010"/>
                  <a:pt x="572171" y="635000"/>
                  <a:pt x="506414" y="635000"/>
                </a:cubicBezTo>
                <a:cubicBezTo>
                  <a:pt x="331064" y="635000"/>
                  <a:pt x="188914" y="492850"/>
                  <a:pt x="188914" y="317500"/>
                </a:cubicBezTo>
                <a:cubicBezTo>
                  <a:pt x="188914" y="142150"/>
                  <a:pt x="331064" y="0"/>
                  <a:pt x="50641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Freeform 17">
            <a:extLst>
              <a:ext uri="{FF2B5EF4-FFF2-40B4-BE49-F238E27FC236}">
                <a16:creationId xmlns:a16="http://schemas.microsoft.com/office/drawing/2014/main" id="{B78BEE52-243F-4A87-BCCB-5DF44F3A6E6E}"/>
              </a:ext>
            </a:extLst>
          </p:cNvPr>
          <p:cNvSpPr>
            <a:spLocks noEditPoints="1"/>
          </p:cNvSpPr>
          <p:nvPr/>
        </p:nvSpPr>
        <p:spPr bwMode="auto">
          <a:xfrm>
            <a:off x="8889560" y="3659684"/>
            <a:ext cx="360474" cy="310771"/>
          </a:xfrm>
          <a:custGeom>
            <a:avLst/>
            <a:gdLst>
              <a:gd name="T0" fmla="*/ 366 w 1143"/>
              <a:gd name="T1" fmla="*/ 867 h 986"/>
              <a:gd name="T2" fmla="*/ 350 w 1143"/>
              <a:gd name="T3" fmla="*/ 806 h 986"/>
              <a:gd name="T4" fmla="*/ 61 w 1143"/>
              <a:gd name="T5" fmla="*/ 785 h 986"/>
              <a:gd name="T6" fmla="*/ 0 w 1143"/>
              <a:gd name="T7" fmla="*/ 532 h 986"/>
              <a:gd name="T8" fmla="*/ 189 w 1143"/>
              <a:gd name="T9" fmla="*/ 413 h 986"/>
              <a:gd name="T10" fmla="*/ 368 w 1143"/>
              <a:gd name="T11" fmla="*/ 405 h 986"/>
              <a:gd name="T12" fmla="*/ 536 w 1143"/>
              <a:gd name="T13" fmla="*/ 367 h 986"/>
              <a:gd name="T14" fmla="*/ 903 w 1143"/>
              <a:gd name="T15" fmla="*/ 413 h 986"/>
              <a:gd name="T16" fmla="*/ 1137 w 1143"/>
              <a:gd name="T17" fmla="*/ 535 h 986"/>
              <a:gd name="T18" fmla="*/ 933 w 1143"/>
              <a:gd name="T19" fmla="*/ 874 h 986"/>
              <a:gd name="T20" fmla="*/ 766 w 1143"/>
              <a:gd name="T21" fmla="*/ 864 h 986"/>
              <a:gd name="T22" fmla="*/ 557 w 1143"/>
              <a:gd name="T23" fmla="*/ 986 h 986"/>
              <a:gd name="T24" fmla="*/ 574 w 1143"/>
              <a:gd name="T25" fmla="*/ 949 h 986"/>
              <a:gd name="T26" fmla="*/ 815 w 1143"/>
              <a:gd name="T27" fmla="*/ 516 h 986"/>
              <a:gd name="T28" fmla="*/ 537 w 1143"/>
              <a:gd name="T29" fmla="*/ 403 h 986"/>
              <a:gd name="T30" fmla="*/ 319 w 1143"/>
              <a:gd name="T31" fmla="*/ 519 h 986"/>
              <a:gd name="T32" fmla="*/ 807 w 1143"/>
              <a:gd name="T33" fmla="*/ 771 h 986"/>
              <a:gd name="T34" fmla="*/ 1041 w 1143"/>
              <a:gd name="T35" fmla="*/ 772 h 986"/>
              <a:gd name="T36" fmla="*/ 1097 w 1143"/>
              <a:gd name="T37" fmla="*/ 501 h 986"/>
              <a:gd name="T38" fmla="*/ 838 w 1143"/>
              <a:gd name="T39" fmla="*/ 458 h 986"/>
              <a:gd name="T40" fmla="*/ 798 w 1143"/>
              <a:gd name="T41" fmla="*/ 733 h 986"/>
              <a:gd name="T42" fmla="*/ 94 w 1143"/>
              <a:gd name="T43" fmla="*/ 771 h 986"/>
              <a:gd name="T44" fmla="*/ 327 w 1143"/>
              <a:gd name="T45" fmla="*/ 772 h 986"/>
              <a:gd name="T46" fmla="*/ 336 w 1143"/>
              <a:gd name="T47" fmla="*/ 744 h 986"/>
              <a:gd name="T48" fmla="*/ 283 w 1143"/>
              <a:gd name="T49" fmla="*/ 520 h 986"/>
              <a:gd name="T50" fmla="*/ 191 w 1143"/>
              <a:gd name="T51" fmla="*/ 449 h 986"/>
              <a:gd name="T52" fmla="*/ 94 w 1143"/>
              <a:gd name="T53" fmla="*/ 771 h 986"/>
              <a:gd name="T54" fmla="*/ 793 w 1143"/>
              <a:gd name="T55" fmla="*/ 262 h 986"/>
              <a:gd name="T56" fmla="*/ 1058 w 1143"/>
              <a:gd name="T57" fmla="*/ 262 h 986"/>
              <a:gd name="T58" fmla="*/ 926 w 1143"/>
              <a:gd name="T59" fmla="*/ 165 h 986"/>
              <a:gd name="T60" fmla="*/ 926 w 1143"/>
              <a:gd name="T61" fmla="*/ 359 h 986"/>
              <a:gd name="T62" fmla="*/ 926 w 1143"/>
              <a:gd name="T63" fmla="*/ 165 h 986"/>
              <a:gd name="T64" fmla="*/ 80 w 1143"/>
              <a:gd name="T65" fmla="*/ 262 h 986"/>
              <a:gd name="T66" fmla="*/ 345 w 1143"/>
              <a:gd name="T67" fmla="*/ 262 h 986"/>
              <a:gd name="T68" fmla="*/ 212 w 1143"/>
              <a:gd name="T69" fmla="*/ 165 h 986"/>
              <a:gd name="T70" fmla="*/ 212 w 1143"/>
              <a:gd name="T71" fmla="*/ 359 h 986"/>
              <a:gd name="T72" fmla="*/ 212 w 1143"/>
              <a:gd name="T73" fmla="*/ 165 h 986"/>
              <a:gd name="T74" fmla="*/ 392 w 1143"/>
              <a:gd name="T75" fmla="*/ 175 h 986"/>
              <a:gd name="T76" fmla="*/ 742 w 1143"/>
              <a:gd name="T77" fmla="*/ 175 h 986"/>
              <a:gd name="T78" fmla="*/ 567 w 1143"/>
              <a:gd name="T79" fmla="*/ 36 h 986"/>
              <a:gd name="T80" fmla="*/ 567 w 1143"/>
              <a:gd name="T81" fmla="*/ 315 h 986"/>
              <a:gd name="T82" fmla="*/ 567 w 1143"/>
              <a:gd name="T83" fmla="*/ 36 h 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43" h="986">
                <a:moveTo>
                  <a:pt x="557" y="986"/>
                </a:moveTo>
                <a:cubicBezTo>
                  <a:pt x="473" y="986"/>
                  <a:pt x="404" y="943"/>
                  <a:pt x="366" y="867"/>
                </a:cubicBezTo>
                <a:cubicBezTo>
                  <a:pt x="365" y="865"/>
                  <a:pt x="365" y="865"/>
                  <a:pt x="365" y="865"/>
                </a:cubicBezTo>
                <a:cubicBezTo>
                  <a:pt x="350" y="806"/>
                  <a:pt x="350" y="806"/>
                  <a:pt x="350" y="806"/>
                </a:cubicBezTo>
                <a:cubicBezTo>
                  <a:pt x="326" y="842"/>
                  <a:pt x="274" y="870"/>
                  <a:pt x="220" y="874"/>
                </a:cubicBezTo>
                <a:cubicBezTo>
                  <a:pt x="150" y="880"/>
                  <a:pt x="92" y="847"/>
                  <a:pt x="61" y="785"/>
                </a:cubicBezTo>
                <a:cubicBezTo>
                  <a:pt x="60" y="783"/>
                  <a:pt x="60" y="783"/>
                  <a:pt x="60" y="783"/>
                </a:cubicBezTo>
                <a:cubicBezTo>
                  <a:pt x="0" y="532"/>
                  <a:pt x="0" y="532"/>
                  <a:pt x="0" y="532"/>
                </a:cubicBezTo>
                <a:cubicBezTo>
                  <a:pt x="0" y="529"/>
                  <a:pt x="0" y="529"/>
                  <a:pt x="0" y="529"/>
                </a:cubicBezTo>
                <a:cubicBezTo>
                  <a:pt x="4" y="461"/>
                  <a:pt x="75" y="417"/>
                  <a:pt x="189" y="413"/>
                </a:cubicBezTo>
                <a:cubicBezTo>
                  <a:pt x="237" y="411"/>
                  <a:pt x="288" y="418"/>
                  <a:pt x="329" y="430"/>
                </a:cubicBezTo>
                <a:cubicBezTo>
                  <a:pt x="340" y="421"/>
                  <a:pt x="353" y="412"/>
                  <a:pt x="368" y="405"/>
                </a:cubicBezTo>
                <a:cubicBezTo>
                  <a:pt x="411" y="383"/>
                  <a:pt x="469" y="370"/>
                  <a:pt x="536" y="367"/>
                </a:cubicBezTo>
                <a:cubicBezTo>
                  <a:pt x="536" y="367"/>
                  <a:pt x="536" y="367"/>
                  <a:pt x="536" y="367"/>
                </a:cubicBezTo>
                <a:cubicBezTo>
                  <a:pt x="631" y="364"/>
                  <a:pt x="747" y="384"/>
                  <a:pt x="808" y="429"/>
                </a:cubicBezTo>
                <a:cubicBezTo>
                  <a:pt x="836" y="420"/>
                  <a:pt x="868" y="415"/>
                  <a:pt x="903" y="413"/>
                </a:cubicBezTo>
                <a:cubicBezTo>
                  <a:pt x="983" y="410"/>
                  <a:pt x="1087" y="429"/>
                  <a:pt x="1125" y="478"/>
                </a:cubicBezTo>
                <a:cubicBezTo>
                  <a:pt x="1138" y="496"/>
                  <a:pt x="1143" y="515"/>
                  <a:pt x="1137" y="535"/>
                </a:cubicBezTo>
                <a:cubicBezTo>
                  <a:pt x="1075" y="782"/>
                  <a:pt x="1075" y="782"/>
                  <a:pt x="1075" y="782"/>
                </a:cubicBezTo>
                <a:cubicBezTo>
                  <a:pt x="1060" y="830"/>
                  <a:pt x="999" y="869"/>
                  <a:pt x="933" y="874"/>
                </a:cubicBezTo>
                <a:cubicBezTo>
                  <a:pt x="869" y="879"/>
                  <a:pt x="814" y="852"/>
                  <a:pt x="782" y="799"/>
                </a:cubicBezTo>
                <a:cubicBezTo>
                  <a:pt x="766" y="864"/>
                  <a:pt x="766" y="864"/>
                  <a:pt x="766" y="864"/>
                </a:cubicBezTo>
                <a:cubicBezTo>
                  <a:pt x="745" y="926"/>
                  <a:pt x="664" y="978"/>
                  <a:pt x="577" y="985"/>
                </a:cubicBezTo>
                <a:cubicBezTo>
                  <a:pt x="570" y="986"/>
                  <a:pt x="564" y="986"/>
                  <a:pt x="557" y="986"/>
                </a:cubicBezTo>
                <a:close/>
                <a:moveTo>
                  <a:pt x="399" y="852"/>
                </a:moveTo>
                <a:cubicBezTo>
                  <a:pt x="446" y="945"/>
                  <a:pt x="529" y="953"/>
                  <a:pt x="574" y="949"/>
                </a:cubicBezTo>
                <a:cubicBezTo>
                  <a:pt x="646" y="944"/>
                  <a:pt x="715" y="902"/>
                  <a:pt x="731" y="854"/>
                </a:cubicBezTo>
                <a:cubicBezTo>
                  <a:pt x="815" y="516"/>
                  <a:pt x="815" y="516"/>
                  <a:pt x="815" y="516"/>
                </a:cubicBezTo>
                <a:cubicBezTo>
                  <a:pt x="819" y="502"/>
                  <a:pt x="816" y="489"/>
                  <a:pt x="806" y="476"/>
                </a:cubicBezTo>
                <a:cubicBezTo>
                  <a:pt x="771" y="430"/>
                  <a:pt x="655" y="399"/>
                  <a:pt x="537" y="403"/>
                </a:cubicBezTo>
                <a:cubicBezTo>
                  <a:pt x="537" y="403"/>
                  <a:pt x="537" y="403"/>
                  <a:pt x="537" y="403"/>
                </a:cubicBezTo>
                <a:cubicBezTo>
                  <a:pt x="436" y="407"/>
                  <a:pt x="326" y="439"/>
                  <a:pt x="319" y="519"/>
                </a:cubicBezTo>
                <a:lnTo>
                  <a:pt x="399" y="852"/>
                </a:lnTo>
                <a:close/>
                <a:moveTo>
                  <a:pt x="807" y="771"/>
                </a:moveTo>
                <a:cubicBezTo>
                  <a:pt x="841" y="835"/>
                  <a:pt x="899" y="841"/>
                  <a:pt x="930" y="838"/>
                </a:cubicBezTo>
                <a:cubicBezTo>
                  <a:pt x="981" y="834"/>
                  <a:pt x="1030" y="805"/>
                  <a:pt x="1041" y="772"/>
                </a:cubicBezTo>
                <a:cubicBezTo>
                  <a:pt x="1102" y="525"/>
                  <a:pt x="1102" y="525"/>
                  <a:pt x="1102" y="525"/>
                </a:cubicBezTo>
                <a:cubicBezTo>
                  <a:pt x="1105" y="516"/>
                  <a:pt x="1103" y="509"/>
                  <a:pt x="1097" y="501"/>
                </a:cubicBezTo>
                <a:cubicBezTo>
                  <a:pt x="1072" y="469"/>
                  <a:pt x="987" y="446"/>
                  <a:pt x="904" y="449"/>
                </a:cubicBezTo>
                <a:cubicBezTo>
                  <a:pt x="880" y="450"/>
                  <a:pt x="858" y="453"/>
                  <a:pt x="838" y="458"/>
                </a:cubicBezTo>
                <a:cubicBezTo>
                  <a:pt x="852" y="479"/>
                  <a:pt x="856" y="502"/>
                  <a:pt x="850" y="526"/>
                </a:cubicBezTo>
                <a:cubicBezTo>
                  <a:pt x="798" y="733"/>
                  <a:pt x="798" y="733"/>
                  <a:pt x="798" y="733"/>
                </a:cubicBezTo>
                <a:lnTo>
                  <a:pt x="807" y="771"/>
                </a:lnTo>
                <a:close/>
                <a:moveTo>
                  <a:pt x="94" y="771"/>
                </a:moveTo>
                <a:cubicBezTo>
                  <a:pt x="127" y="835"/>
                  <a:pt x="185" y="841"/>
                  <a:pt x="217" y="838"/>
                </a:cubicBezTo>
                <a:cubicBezTo>
                  <a:pt x="268" y="834"/>
                  <a:pt x="316" y="805"/>
                  <a:pt x="327" y="772"/>
                </a:cubicBezTo>
                <a:cubicBezTo>
                  <a:pt x="335" y="743"/>
                  <a:pt x="335" y="743"/>
                  <a:pt x="335" y="743"/>
                </a:cubicBezTo>
                <a:cubicBezTo>
                  <a:pt x="336" y="744"/>
                  <a:pt x="336" y="744"/>
                  <a:pt x="336" y="744"/>
                </a:cubicBezTo>
                <a:cubicBezTo>
                  <a:pt x="282" y="522"/>
                  <a:pt x="282" y="522"/>
                  <a:pt x="282" y="522"/>
                </a:cubicBezTo>
                <a:cubicBezTo>
                  <a:pt x="283" y="520"/>
                  <a:pt x="283" y="520"/>
                  <a:pt x="283" y="520"/>
                </a:cubicBezTo>
                <a:cubicBezTo>
                  <a:pt x="284" y="498"/>
                  <a:pt x="291" y="478"/>
                  <a:pt x="302" y="460"/>
                </a:cubicBezTo>
                <a:cubicBezTo>
                  <a:pt x="268" y="452"/>
                  <a:pt x="229" y="448"/>
                  <a:pt x="191" y="449"/>
                </a:cubicBezTo>
                <a:cubicBezTo>
                  <a:pt x="119" y="452"/>
                  <a:pt x="41" y="474"/>
                  <a:pt x="36" y="529"/>
                </a:cubicBezTo>
                <a:lnTo>
                  <a:pt x="94" y="771"/>
                </a:lnTo>
                <a:close/>
                <a:moveTo>
                  <a:pt x="926" y="395"/>
                </a:moveTo>
                <a:cubicBezTo>
                  <a:pt x="853" y="395"/>
                  <a:pt x="793" y="335"/>
                  <a:pt x="793" y="262"/>
                </a:cubicBezTo>
                <a:cubicBezTo>
                  <a:pt x="793" y="189"/>
                  <a:pt x="853" y="129"/>
                  <a:pt x="926" y="129"/>
                </a:cubicBezTo>
                <a:cubicBezTo>
                  <a:pt x="999" y="129"/>
                  <a:pt x="1058" y="189"/>
                  <a:pt x="1058" y="262"/>
                </a:cubicBezTo>
                <a:cubicBezTo>
                  <a:pt x="1058" y="335"/>
                  <a:pt x="999" y="395"/>
                  <a:pt x="926" y="395"/>
                </a:cubicBezTo>
                <a:close/>
                <a:moveTo>
                  <a:pt x="926" y="165"/>
                </a:moveTo>
                <a:cubicBezTo>
                  <a:pt x="873" y="165"/>
                  <a:pt x="829" y="209"/>
                  <a:pt x="829" y="262"/>
                </a:cubicBezTo>
                <a:cubicBezTo>
                  <a:pt x="829" y="315"/>
                  <a:pt x="873" y="359"/>
                  <a:pt x="926" y="359"/>
                </a:cubicBezTo>
                <a:cubicBezTo>
                  <a:pt x="979" y="359"/>
                  <a:pt x="1022" y="315"/>
                  <a:pt x="1022" y="262"/>
                </a:cubicBezTo>
                <a:cubicBezTo>
                  <a:pt x="1022" y="209"/>
                  <a:pt x="979" y="165"/>
                  <a:pt x="926" y="165"/>
                </a:cubicBezTo>
                <a:close/>
                <a:moveTo>
                  <a:pt x="212" y="395"/>
                </a:moveTo>
                <a:cubicBezTo>
                  <a:pt x="139" y="395"/>
                  <a:pt x="80" y="335"/>
                  <a:pt x="80" y="262"/>
                </a:cubicBezTo>
                <a:cubicBezTo>
                  <a:pt x="80" y="189"/>
                  <a:pt x="139" y="129"/>
                  <a:pt x="212" y="129"/>
                </a:cubicBezTo>
                <a:cubicBezTo>
                  <a:pt x="285" y="129"/>
                  <a:pt x="345" y="189"/>
                  <a:pt x="345" y="262"/>
                </a:cubicBezTo>
                <a:cubicBezTo>
                  <a:pt x="345" y="335"/>
                  <a:pt x="285" y="395"/>
                  <a:pt x="212" y="395"/>
                </a:cubicBezTo>
                <a:close/>
                <a:moveTo>
                  <a:pt x="212" y="165"/>
                </a:moveTo>
                <a:cubicBezTo>
                  <a:pt x="159" y="165"/>
                  <a:pt x="116" y="209"/>
                  <a:pt x="116" y="262"/>
                </a:cubicBezTo>
                <a:cubicBezTo>
                  <a:pt x="116" y="315"/>
                  <a:pt x="159" y="359"/>
                  <a:pt x="212" y="359"/>
                </a:cubicBezTo>
                <a:cubicBezTo>
                  <a:pt x="265" y="359"/>
                  <a:pt x="309" y="315"/>
                  <a:pt x="309" y="262"/>
                </a:cubicBezTo>
                <a:cubicBezTo>
                  <a:pt x="309" y="209"/>
                  <a:pt x="265" y="165"/>
                  <a:pt x="212" y="165"/>
                </a:cubicBezTo>
                <a:close/>
                <a:moveTo>
                  <a:pt x="567" y="351"/>
                </a:moveTo>
                <a:cubicBezTo>
                  <a:pt x="471" y="351"/>
                  <a:pt x="392" y="272"/>
                  <a:pt x="392" y="175"/>
                </a:cubicBezTo>
                <a:cubicBezTo>
                  <a:pt x="392" y="79"/>
                  <a:pt x="471" y="0"/>
                  <a:pt x="567" y="0"/>
                </a:cubicBezTo>
                <a:cubicBezTo>
                  <a:pt x="663" y="0"/>
                  <a:pt x="742" y="79"/>
                  <a:pt x="742" y="175"/>
                </a:cubicBezTo>
                <a:cubicBezTo>
                  <a:pt x="742" y="272"/>
                  <a:pt x="663" y="351"/>
                  <a:pt x="567" y="351"/>
                </a:cubicBezTo>
                <a:close/>
                <a:moveTo>
                  <a:pt x="567" y="36"/>
                </a:moveTo>
                <a:cubicBezTo>
                  <a:pt x="490" y="36"/>
                  <a:pt x="428" y="99"/>
                  <a:pt x="428" y="175"/>
                </a:cubicBezTo>
                <a:cubicBezTo>
                  <a:pt x="428" y="252"/>
                  <a:pt x="490" y="315"/>
                  <a:pt x="567" y="315"/>
                </a:cubicBezTo>
                <a:cubicBezTo>
                  <a:pt x="643" y="315"/>
                  <a:pt x="706" y="252"/>
                  <a:pt x="706" y="175"/>
                </a:cubicBezTo>
                <a:cubicBezTo>
                  <a:pt x="706" y="99"/>
                  <a:pt x="643" y="36"/>
                  <a:pt x="567" y="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41B9236-6C5C-497A-84AF-ADB7D6F2129A}"/>
              </a:ext>
            </a:extLst>
          </p:cNvPr>
          <p:cNvGrpSpPr/>
          <p:nvPr/>
        </p:nvGrpSpPr>
        <p:grpSpPr>
          <a:xfrm>
            <a:off x="975882" y="3630504"/>
            <a:ext cx="395541" cy="339950"/>
            <a:chOff x="6326364" y="5057133"/>
            <a:chExt cx="614228" cy="527900"/>
          </a:xfrm>
          <a:solidFill>
            <a:schemeClr val="accent2"/>
          </a:solidFill>
        </p:grpSpPr>
        <p:sp>
          <p:nvSpPr>
            <p:cNvPr id="70" name="Freeform 88">
              <a:extLst>
                <a:ext uri="{FF2B5EF4-FFF2-40B4-BE49-F238E27FC236}">
                  <a16:creationId xmlns:a16="http://schemas.microsoft.com/office/drawing/2014/main" id="{C6328279-2602-442E-A272-6FBAA8E0368B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533025" y="5057133"/>
              <a:ext cx="202252" cy="201952"/>
            </a:xfrm>
            <a:custGeom>
              <a:avLst/>
              <a:gdLst>
                <a:gd name="connsiteX0" fmla="*/ 613733 w 1227370"/>
                <a:gd name="connsiteY0" fmla="*/ 754063 h 1225551"/>
                <a:gd name="connsiteX1" fmla="*/ 1032950 w 1227370"/>
                <a:gd name="connsiteY1" fmla="*/ 863570 h 1225551"/>
                <a:gd name="connsiteX2" fmla="*/ 1227370 w 1227370"/>
                <a:gd name="connsiteY2" fmla="*/ 1173840 h 1225551"/>
                <a:gd name="connsiteX3" fmla="*/ 1175727 w 1227370"/>
                <a:gd name="connsiteY3" fmla="*/ 1225551 h 1225551"/>
                <a:gd name="connsiteX4" fmla="*/ 1124085 w 1227370"/>
                <a:gd name="connsiteY4" fmla="*/ 1173840 h 1225551"/>
                <a:gd name="connsiteX5" fmla="*/ 978270 w 1227370"/>
                <a:gd name="connsiteY5" fmla="*/ 951784 h 1225551"/>
                <a:gd name="connsiteX6" fmla="*/ 613733 w 1227370"/>
                <a:gd name="connsiteY6" fmla="*/ 857486 h 1225551"/>
                <a:gd name="connsiteX7" fmla="*/ 249195 w 1227370"/>
                <a:gd name="connsiteY7" fmla="*/ 951784 h 1225551"/>
                <a:gd name="connsiteX8" fmla="*/ 103380 w 1227370"/>
                <a:gd name="connsiteY8" fmla="*/ 1173840 h 1225551"/>
                <a:gd name="connsiteX9" fmla="*/ 51737 w 1227370"/>
                <a:gd name="connsiteY9" fmla="*/ 1225551 h 1225551"/>
                <a:gd name="connsiteX10" fmla="*/ 95 w 1227370"/>
                <a:gd name="connsiteY10" fmla="*/ 1176881 h 1225551"/>
                <a:gd name="connsiteX11" fmla="*/ 194514 w 1227370"/>
                <a:gd name="connsiteY11" fmla="*/ 863570 h 1225551"/>
                <a:gd name="connsiteX12" fmla="*/ 613733 w 1227370"/>
                <a:gd name="connsiteY12" fmla="*/ 754063 h 1225551"/>
                <a:gd name="connsiteX13" fmla="*/ 602688 w 1227370"/>
                <a:gd name="connsiteY13" fmla="*/ 103188 h 1225551"/>
                <a:gd name="connsiteX14" fmla="*/ 373294 w 1227370"/>
                <a:gd name="connsiteY14" fmla="*/ 332582 h 1225551"/>
                <a:gd name="connsiteX15" fmla="*/ 602688 w 1227370"/>
                <a:gd name="connsiteY15" fmla="*/ 561976 h 1225551"/>
                <a:gd name="connsiteX16" fmla="*/ 832082 w 1227370"/>
                <a:gd name="connsiteY16" fmla="*/ 332582 h 1225551"/>
                <a:gd name="connsiteX17" fmla="*/ 602688 w 1227370"/>
                <a:gd name="connsiteY17" fmla="*/ 103188 h 1225551"/>
                <a:gd name="connsiteX18" fmla="*/ 601101 w 1227370"/>
                <a:gd name="connsiteY18" fmla="*/ 0 h 1225551"/>
                <a:gd name="connsiteX19" fmla="*/ 932095 w 1227370"/>
                <a:gd name="connsiteY19" fmla="*/ 330994 h 1225551"/>
                <a:gd name="connsiteX20" fmla="*/ 601101 w 1227370"/>
                <a:gd name="connsiteY20" fmla="*/ 661988 h 1225551"/>
                <a:gd name="connsiteX21" fmla="*/ 270107 w 1227370"/>
                <a:gd name="connsiteY21" fmla="*/ 330994 h 1225551"/>
                <a:gd name="connsiteX22" fmla="*/ 601101 w 1227370"/>
                <a:gd name="connsiteY22" fmla="*/ 0 h 122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27370" h="1225551">
                  <a:moveTo>
                    <a:pt x="613733" y="754063"/>
                  </a:moveTo>
                  <a:cubicBezTo>
                    <a:pt x="771699" y="754063"/>
                    <a:pt x="920551" y="793607"/>
                    <a:pt x="1032950" y="863570"/>
                  </a:cubicBezTo>
                  <a:cubicBezTo>
                    <a:pt x="1157501" y="942658"/>
                    <a:pt x="1227370" y="1055207"/>
                    <a:pt x="1227370" y="1173840"/>
                  </a:cubicBezTo>
                  <a:cubicBezTo>
                    <a:pt x="1227370" y="1204258"/>
                    <a:pt x="1206106" y="1225551"/>
                    <a:pt x="1175727" y="1225551"/>
                  </a:cubicBezTo>
                  <a:cubicBezTo>
                    <a:pt x="1148387" y="1225551"/>
                    <a:pt x="1124085" y="1204258"/>
                    <a:pt x="1124085" y="1173840"/>
                  </a:cubicBezTo>
                  <a:cubicBezTo>
                    <a:pt x="1124085" y="1091709"/>
                    <a:pt x="1072442" y="1012621"/>
                    <a:pt x="978270" y="951784"/>
                  </a:cubicBezTo>
                  <a:cubicBezTo>
                    <a:pt x="881060" y="890947"/>
                    <a:pt x="750434" y="857486"/>
                    <a:pt x="613733" y="857486"/>
                  </a:cubicBezTo>
                  <a:cubicBezTo>
                    <a:pt x="473993" y="857486"/>
                    <a:pt x="343368" y="890947"/>
                    <a:pt x="249195" y="951784"/>
                  </a:cubicBezTo>
                  <a:cubicBezTo>
                    <a:pt x="155023" y="1012621"/>
                    <a:pt x="100342" y="1094751"/>
                    <a:pt x="103380" y="1173840"/>
                  </a:cubicBezTo>
                  <a:cubicBezTo>
                    <a:pt x="103380" y="1201216"/>
                    <a:pt x="82115" y="1225551"/>
                    <a:pt x="51737" y="1225551"/>
                  </a:cubicBezTo>
                  <a:cubicBezTo>
                    <a:pt x="24397" y="1225551"/>
                    <a:pt x="95" y="1204258"/>
                    <a:pt x="95" y="1176881"/>
                  </a:cubicBezTo>
                  <a:cubicBezTo>
                    <a:pt x="-2943" y="1061291"/>
                    <a:pt x="66926" y="948742"/>
                    <a:pt x="194514" y="863570"/>
                  </a:cubicBezTo>
                  <a:cubicBezTo>
                    <a:pt x="303876" y="793607"/>
                    <a:pt x="452729" y="754063"/>
                    <a:pt x="613733" y="754063"/>
                  </a:cubicBezTo>
                  <a:close/>
                  <a:moveTo>
                    <a:pt x="602688" y="103188"/>
                  </a:moveTo>
                  <a:cubicBezTo>
                    <a:pt x="475997" y="103188"/>
                    <a:pt x="373294" y="205891"/>
                    <a:pt x="373294" y="332582"/>
                  </a:cubicBezTo>
                  <a:cubicBezTo>
                    <a:pt x="373294" y="459273"/>
                    <a:pt x="475997" y="561976"/>
                    <a:pt x="602688" y="561976"/>
                  </a:cubicBezTo>
                  <a:cubicBezTo>
                    <a:pt x="729379" y="561976"/>
                    <a:pt x="832082" y="459273"/>
                    <a:pt x="832082" y="332582"/>
                  </a:cubicBezTo>
                  <a:cubicBezTo>
                    <a:pt x="832082" y="205891"/>
                    <a:pt x="729379" y="103188"/>
                    <a:pt x="602688" y="103188"/>
                  </a:cubicBezTo>
                  <a:close/>
                  <a:moveTo>
                    <a:pt x="601101" y="0"/>
                  </a:moveTo>
                  <a:cubicBezTo>
                    <a:pt x="783904" y="0"/>
                    <a:pt x="932095" y="148191"/>
                    <a:pt x="932095" y="330994"/>
                  </a:cubicBezTo>
                  <a:cubicBezTo>
                    <a:pt x="932095" y="513797"/>
                    <a:pt x="783904" y="661988"/>
                    <a:pt x="601101" y="661988"/>
                  </a:cubicBezTo>
                  <a:cubicBezTo>
                    <a:pt x="418298" y="661988"/>
                    <a:pt x="270107" y="513797"/>
                    <a:pt x="270107" y="330994"/>
                  </a:cubicBezTo>
                  <a:cubicBezTo>
                    <a:pt x="270107" y="148191"/>
                    <a:pt x="418298" y="0"/>
                    <a:pt x="601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89">
              <a:extLst>
                <a:ext uri="{FF2B5EF4-FFF2-40B4-BE49-F238E27FC236}">
                  <a16:creationId xmlns:a16="http://schemas.microsoft.com/office/drawing/2014/main" id="{65B041D8-3979-4723-8614-3DF9D450B0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26364" y="5415257"/>
              <a:ext cx="169816" cy="169776"/>
            </a:xfrm>
            <a:custGeom>
              <a:avLst/>
              <a:gdLst>
                <a:gd name="connsiteX0" fmla="*/ 516840 w 1030532"/>
                <a:gd name="connsiteY0" fmla="*/ 716860 h 1030288"/>
                <a:gd name="connsiteX1" fmla="*/ 209841 w 1030532"/>
                <a:gd name="connsiteY1" fmla="*/ 795944 h 1030288"/>
                <a:gd name="connsiteX2" fmla="*/ 117893 w 1030532"/>
                <a:gd name="connsiteY2" fmla="*/ 884154 h 1030288"/>
                <a:gd name="connsiteX3" fmla="*/ 97614 w 1030532"/>
                <a:gd name="connsiteY3" fmla="*/ 944563 h 1030288"/>
                <a:gd name="connsiteX4" fmla="*/ 210686 w 1030532"/>
                <a:gd name="connsiteY4" fmla="*/ 944563 h 1030288"/>
                <a:gd name="connsiteX5" fmla="*/ 932431 w 1030532"/>
                <a:gd name="connsiteY5" fmla="*/ 944563 h 1030288"/>
                <a:gd name="connsiteX6" fmla="*/ 933312 w 1030532"/>
                <a:gd name="connsiteY6" fmla="*/ 944563 h 1030288"/>
                <a:gd name="connsiteX7" fmla="*/ 912748 w 1030532"/>
                <a:gd name="connsiteY7" fmla="*/ 881872 h 1030288"/>
                <a:gd name="connsiteX8" fmla="*/ 820800 w 1030532"/>
                <a:gd name="connsiteY8" fmla="*/ 795944 h 1030288"/>
                <a:gd name="connsiteX9" fmla="*/ 516840 w 1030532"/>
                <a:gd name="connsiteY9" fmla="*/ 716860 h 1030288"/>
                <a:gd name="connsiteX10" fmla="*/ 516840 w 1030532"/>
                <a:gd name="connsiteY10" fmla="*/ 628651 h 1030288"/>
                <a:gd name="connsiteX11" fmla="*/ 866394 w 1030532"/>
                <a:gd name="connsiteY11" fmla="*/ 722944 h 1030288"/>
                <a:gd name="connsiteX12" fmla="*/ 1030532 w 1030532"/>
                <a:gd name="connsiteY12" fmla="*/ 981489 h 1030288"/>
                <a:gd name="connsiteX13" fmla="*/ 1018374 w 1030532"/>
                <a:gd name="connsiteY13" fmla="*/ 1013427 h 1030288"/>
                <a:gd name="connsiteX14" fmla="*/ 1014448 w 1030532"/>
                <a:gd name="connsiteY14" fmla="*/ 1016331 h 1030288"/>
                <a:gd name="connsiteX15" fmla="*/ 1013684 w 1030532"/>
                <a:gd name="connsiteY15" fmla="*/ 1018042 h 1030288"/>
                <a:gd name="connsiteX16" fmla="*/ 1010468 w 1030532"/>
                <a:gd name="connsiteY16" fmla="*/ 1019277 h 1030288"/>
                <a:gd name="connsiteX17" fmla="*/ 1004886 w 1030532"/>
                <a:gd name="connsiteY17" fmla="*/ 1023407 h 1030288"/>
                <a:gd name="connsiteX18" fmla="*/ 992810 w 1030532"/>
                <a:gd name="connsiteY18" fmla="*/ 1026055 h 1030288"/>
                <a:gd name="connsiteX19" fmla="*/ 981781 w 1030532"/>
                <a:gd name="connsiteY19" fmla="*/ 1030288 h 1030288"/>
                <a:gd name="connsiteX20" fmla="*/ 45957 w 1030532"/>
                <a:gd name="connsiteY20" fmla="*/ 1030288 h 1030288"/>
                <a:gd name="connsiteX21" fmla="*/ 15573 w 1030532"/>
                <a:gd name="connsiteY21" fmla="*/ 1018042 h 1030288"/>
                <a:gd name="connsiteX22" fmla="*/ 14737 w 1030532"/>
                <a:gd name="connsiteY22" fmla="*/ 1015936 h 1030288"/>
                <a:gd name="connsiteX23" fmla="*/ 12267 w 1030532"/>
                <a:gd name="connsiteY23" fmla="*/ 1014947 h 1030288"/>
                <a:gd name="connsiteX24" fmla="*/ 108 w 1030532"/>
                <a:gd name="connsiteY24" fmla="*/ 984530 h 1030288"/>
                <a:gd name="connsiteX25" fmla="*/ 164247 w 1030532"/>
                <a:gd name="connsiteY25" fmla="*/ 722944 h 1030288"/>
                <a:gd name="connsiteX26" fmla="*/ 516840 w 1030532"/>
                <a:gd name="connsiteY26" fmla="*/ 628651 h 1030288"/>
                <a:gd name="connsiteX27" fmla="*/ 505862 w 1030532"/>
                <a:gd name="connsiteY27" fmla="*/ 85725 h 1030288"/>
                <a:gd name="connsiteX28" fmla="*/ 312980 w 1030532"/>
                <a:gd name="connsiteY28" fmla="*/ 277019 h 1030288"/>
                <a:gd name="connsiteX29" fmla="*/ 505862 w 1030532"/>
                <a:gd name="connsiteY29" fmla="*/ 468313 h 1030288"/>
                <a:gd name="connsiteX30" fmla="*/ 698744 w 1030532"/>
                <a:gd name="connsiteY30" fmla="*/ 277019 h 1030288"/>
                <a:gd name="connsiteX31" fmla="*/ 505862 w 1030532"/>
                <a:gd name="connsiteY31" fmla="*/ 85725 h 1030288"/>
                <a:gd name="connsiteX32" fmla="*/ 506656 w 1030532"/>
                <a:gd name="connsiteY32" fmla="*/ 0 h 1030288"/>
                <a:gd name="connsiteX33" fmla="*/ 784469 w 1030532"/>
                <a:gd name="connsiteY33" fmla="*/ 277813 h 1030288"/>
                <a:gd name="connsiteX34" fmla="*/ 506656 w 1030532"/>
                <a:gd name="connsiteY34" fmla="*/ 555626 h 1030288"/>
                <a:gd name="connsiteX35" fmla="*/ 228843 w 1030532"/>
                <a:gd name="connsiteY35" fmla="*/ 277813 h 1030288"/>
                <a:gd name="connsiteX36" fmla="*/ 506656 w 1030532"/>
                <a:gd name="connsiteY36" fmla="*/ 0 h 10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30532" h="1030288">
                  <a:moveTo>
                    <a:pt x="516840" y="716860"/>
                  </a:moveTo>
                  <a:cubicBezTo>
                    <a:pt x="398296" y="716860"/>
                    <a:pt x="288871" y="744235"/>
                    <a:pt x="209841" y="795944"/>
                  </a:cubicBezTo>
                  <a:cubicBezTo>
                    <a:pt x="170327" y="821799"/>
                    <a:pt x="139171" y="852216"/>
                    <a:pt x="117893" y="884154"/>
                  </a:cubicBezTo>
                  <a:lnTo>
                    <a:pt x="97614" y="944563"/>
                  </a:lnTo>
                  <a:lnTo>
                    <a:pt x="210686" y="944563"/>
                  </a:lnTo>
                  <a:cubicBezTo>
                    <a:pt x="673343" y="944563"/>
                    <a:pt x="858406" y="944563"/>
                    <a:pt x="932431" y="944563"/>
                  </a:cubicBezTo>
                  <a:lnTo>
                    <a:pt x="933312" y="944563"/>
                  </a:lnTo>
                  <a:lnTo>
                    <a:pt x="912748" y="881872"/>
                  </a:lnTo>
                  <a:cubicBezTo>
                    <a:pt x="891471" y="850695"/>
                    <a:pt x="860315" y="821799"/>
                    <a:pt x="820800" y="795944"/>
                  </a:cubicBezTo>
                  <a:cubicBezTo>
                    <a:pt x="738731" y="744235"/>
                    <a:pt x="632345" y="716860"/>
                    <a:pt x="516840" y="716860"/>
                  </a:cubicBezTo>
                  <a:close/>
                  <a:moveTo>
                    <a:pt x="516840" y="628651"/>
                  </a:moveTo>
                  <a:cubicBezTo>
                    <a:pt x="647543" y="628651"/>
                    <a:pt x="772166" y="662109"/>
                    <a:pt x="866394" y="722944"/>
                  </a:cubicBezTo>
                  <a:cubicBezTo>
                    <a:pt x="972780" y="789861"/>
                    <a:pt x="1030532" y="881112"/>
                    <a:pt x="1030532" y="981489"/>
                  </a:cubicBezTo>
                  <a:cubicBezTo>
                    <a:pt x="1030532" y="993656"/>
                    <a:pt x="1025973" y="1005062"/>
                    <a:pt x="1018374" y="1013427"/>
                  </a:cubicBezTo>
                  <a:lnTo>
                    <a:pt x="1014448" y="1016331"/>
                  </a:lnTo>
                  <a:lnTo>
                    <a:pt x="1013684" y="1018042"/>
                  </a:lnTo>
                  <a:lnTo>
                    <a:pt x="1010468" y="1019277"/>
                  </a:lnTo>
                  <a:lnTo>
                    <a:pt x="1004886" y="1023407"/>
                  </a:lnTo>
                  <a:lnTo>
                    <a:pt x="992810" y="1026055"/>
                  </a:lnTo>
                  <a:lnTo>
                    <a:pt x="981781" y="1030288"/>
                  </a:lnTo>
                  <a:cubicBezTo>
                    <a:pt x="45957" y="1030288"/>
                    <a:pt x="45957" y="1030288"/>
                    <a:pt x="45957" y="1030288"/>
                  </a:cubicBezTo>
                  <a:cubicBezTo>
                    <a:pt x="33803" y="1030288"/>
                    <a:pt x="23169" y="1025696"/>
                    <a:pt x="15573" y="1018042"/>
                  </a:cubicBezTo>
                  <a:lnTo>
                    <a:pt x="14737" y="1015936"/>
                  </a:lnTo>
                  <a:lnTo>
                    <a:pt x="12267" y="1014947"/>
                  </a:lnTo>
                  <a:cubicBezTo>
                    <a:pt x="4668" y="1007343"/>
                    <a:pt x="108" y="996697"/>
                    <a:pt x="108" y="984530"/>
                  </a:cubicBezTo>
                  <a:cubicBezTo>
                    <a:pt x="-2931" y="887195"/>
                    <a:pt x="57861" y="792903"/>
                    <a:pt x="164247" y="722944"/>
                  </a:cubicBezTo>
                  <a:cubicBezTo>
                    <a:pt x="255435" y="662109"/>
                    <a:pt x="380058" y="628651"/>
                    <a:pt x="516840" y="628651"/>
                  </a:cubicBezTo>
                  <a:close/>
                  <a:moveTo>
                    <a:pt x="505862" y="85725"/>
                  </a:moveTo>
                  <a:cubicBezTo>
                    <a:pt x="399336" y="85725"/>
                    <a:pt x="312980" y="171370"/>
                    <a:pt x="312980" y="277019"/>
                  </a:cubicBezTo>
                  <a:cubicBezTo>
                    <a:pt x="312980" y="382668"/>
                    <a:pt x="399336" y="468313"/>
                    <a:pt x="505862" y="468313"/>
                  </a:cubicBezTo>
                  <a:cubicBezTo>
                    <a:pt x="612388" y="468313"/>
                    <a:pt x="698744" y="382668"/>
                    <a:pt x="698744" y="277019"/>
                  </a:cubicBezTo>
                  <a:cubicBezTo>
                    <a:pt x="698744" y="171370"/>
                    <a:pt x="612388" y="85725"/>
                    <a:pt x="505862" y="85725"/>
                  </a:cubicBezTo>
                  <a:close/>
                  <a:moveTo>
                    <a:pt x="506656" y="0"/>
                  </a:moveTo>
                  <a:cubicBezTo>
                    <a:pt x="660088" y="0"/>
                    <a:pt x="784469" y="124381"/>
                    <a:pt x="784469" y="277813"/>
                  </a:cubicBezTo>
                  <a:cubicBezTo>
                    <a:pt x="784469" y="431245"/>
                    <a:pt x="660088" y="555626"/>
                    <a:pt x="506656" y="555626"/>
                  </a:cubicBezTo>
                  <a:cubicBezTo>
                    <a:pt x="353224" y="555626"/>
                    <a:pt x="228843" y="431245"/>
                    <a:pt x="228843" y="277813"/>
                  </a:cubicBezTo>
                  <a:cubicBezTo>
                    <a:pt x="228843" y="124381"/>
                    <a:pt x="353224" y="0"/>
                    <a:pt x="5066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91">
              <a:extLst>
                <a:ext uri="{FF2B5EF4-FFF2-40B4-BE49-F238E27FC236}">
                  <a16:creationId xmlns:a16="http://schemas.microsoft.com/office/drawing/2014/main" id="{AB645AE5-13AA-4C68-B92E-F534D593D6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51075" y="5415257"/>
              <a:ext cx="169817" cy="169776"/>
            </a:xfrm>
            <a:custGeom>
              <a:avLst/>
              <a:gdLst>
                <a:gd name="connsiteX0" fmla="*/ 513807 w 1030538"/>
                <a:gd name="connsiteY0" fmla="*/ 716860 h 1030288"/>
                <a:gd name="connsiteX1" fmla="*/ 209847 w 1030538"/>
                <a:gd name="connsiteY1" fmla="*/ 795944 h 1030288"/>
                <a:gd name="connsiteX2" fmla="*/ 116759 w 1030538"/>
                <a:gd name="connsiteY2" fmla="*/ 884154 h 1030288"/>
                <a:gd name="connsiteX3" fmla="*/ 97187 w 1030538"/>
                <a:gd name="connsiteY3" fmla="*/ 944563 h 1030288"/>
                <a:gd name="connsiteX4" fmla="*/ 210664 w 1030538"/>
                <a:gd name="connsiteY4" fmla="*/ 944563 h 1030288"/>
                <a:gd name="connsiteX5" fmla="*/ 932313 w 1030538"/>
                <a:gd name="connsiteY5" fmla="*/ 944563 h 1030288"/>
                <a:gd name="connsiteX6" fmla="*/ 933318 w 1030538"/>
                <a:gd name="connsiteY6" fmla="*/ 944563 h 1030288"/>
                <a:gd name="connsiteX7" fmla="*/ 912754 w 1030538"/>
                <a:gd name="connsiteY7" fmla="*/ 881872 h 1030288"/>
                <a:gd name="connsiteX8" fmla="*/ 820806 w 1030538"/>
                <a:gd name="connsiteY8" fmla="*/ 795944 h 1030288"/>
                <a:gd name="connsiteX9" fmla="*/ 513807 w 1030538"/>
                <a:gd name="connsiteY9" fmla="*/ 716860 h 1030288"/>
                <a:gd name="connsiteX10" fmla="*/ 513807 w 1030538"/>
                <a:gd name="connsiteY10" fmla="*/ 628651 h 1030288"/>
                <a:gd name="connsiteX11" fmla="*/ 866400 w 1030538"/>
                <a:gd name="connsiteY11" fmla="*/ 722944 h 1030288"/>
                <a:gd name="connsiteX12" fmla="*/ 1030538 w 1030538"/>
                <a:gd name="connsiteY12" fmla="*/ 981489 h 1030288"/>
                <a:gd name="connsiteX13" fmla="*/ 1004892 w 1030538"/>
                <a:gd name="connsiteY13" fmla="*/ 1023407 h 1030288"/>
                <a:gd name="connsiteX14" fmla="*/ 991374 w 1030538"/>
                <a:gd name="connsiteY14" fmla="*/ 1026371 h 1030288"/>
                <a:gd name="connsiteX15" fmla="*/ 981656 w 1030538"/>
                <a:gd name="connsiteY15" fmla="*/ 1030288 h 1030288"/>
                <a:gd name="connsiteX16" fmla="*/ 45957 w 1030538"/>
                <a:gd name="connsiteY16" fmla="*/ 1030288 h 1030288"/>
                <a:gd name="connsiteX17" fmla="*/ 15577 w 1030538"/>
                <a:gd name="connsiteY17" fmla="*/ 1018042 h 1030288"/>
                <a:gd name="connsiteX18" fmla="*/ 14741 w 1030538"/>
                <a:gd name="connsiteY18" fmla="*/ 1015935 h 1030288"/>
                <a:gd name="connsiteX19" fmla="*/ 12273 w 1030538"/>
                <a:gd name="connsiteY19" fmla="*/ 1014947 h 1030288"/>
                <a:gd name="connsiteX20" fmla="*/ 114 w 1030538"/>
                <a:gd name="connsiteY20" fmla="*/ 984530 h 1030288"/>
                <a:gd name="connsiteX21" fmla="*/ 161213 w 1030538"/>
                <a:gd name="connsiteY21" fmla="*/ 722944 h 1030288"/>
                <a:gd name="connsiteX22" fmla="*/ 513807 w 1030538"/>
                <a:gd name="connsiteY22" fmla="*/ 628651 h 1030288"/>
                <a:gd name="connsiteX23" fmla="*/ 504281 w 1030538"/>
                <a:gd name="connsiteY23" fmla="*/ 85725 h 1030288"/>
                <a:gd name="connsiteX24" fmla="*/ 312987 w 1030538"/>
                <a:gd name="connsiteY24" fmla="*/ 277019 h 1030288"/>
                <a:gd name="connsiteX25" fmla="*/ 504281 w 1030538"/>
                <a:gd name="connsiteY25" fmla="*/ 468313 h 1030288"/>
                <a:gd name="connsiteX26" fmla="*/ 695575 w 1030538"/>
                <a:gd name="connsiteY26" fmla="*/ 277019 h 1030288"/>
                <a:gd name="connsiteX27" fmla="*/ 504281 w 1030538"/>
                <a:gd name="connsiteY27" fmla="*/ 85725 h 1030288"/>
                <a:gd name="connsiteX28" fmla="*/ 506662 w 1030538"/>
                <a:gd name="connsiteY28" fmla="*/ 0 h 1030288"/>
                <a:gd name="connsiteX29" fmla="*/ 784475 w 1030538"/>
                <a:gd name="connsiteY29" fmla="*/ 277813 h 1030288"/>
                <a:gd name="connsiteX30" fmla="*/ 506662 w 1030538"/>
                <a:gd name="connsiteY30" fmla="*/ 555626 h 1030288"/>
                <a:gd name="connsiteX31" fmla="*/ 228849 w 1030538"/>
                <a:gd name="connsiteY31" fmla="*/ 277813 h 1030288"/>
                <a:gd name="connsiteX32" fmla="*/ 506662 w 1030538"/>
                <a:gd name="connsiteY32" fmla="*/ 0 h 10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30538" h="1030288">
                  <a:moveTo>
                    <a:pt x="513807" y="716860"/>
                  </a:moveTo>
                  <a:cubicBezTo>
                    <a:pt x="395262" y="716860"/>
                    <a:pt x="288877" y="744235"/>
                    <a:pt x="209847" y="795944"/>
                  </a:cubicBezTo>
                  <a:cubicBezTo>
                    <a:pt x="168813" y="821799"/>
                    <a:pt x="137657" y="852216"/>
                    <a:pt x="116759" y="884154"/>
                  </a:cubicBezTo>
                  <a:lnTo>
                    <a:pt x="97187" y="944563"/>
                  </a:lnTo>
                  <a:lnTo>
                    <a:pt x="210664" y="944563"/>
                  </a:lnTo>
                  <a:cubicBezTo>
                    <a:pt x="673259" y="944563"/>
                    <a:pt x="858297" y="944563"/>
                    <a:pt x="932313" y="944563"/>
                  </a:cubicBezTo>
                  <a:lnTo>
                    <a:pt x="933318" y="944563"/>
                  </a:lnTo>
                  <a:lnTo>
                    <a:pt x="912754" y="881872"/>
                  </a:lnTo>
                  <a:cubicBezTo>
                    <a:pt x="891477" y="850695"/>
                    <a:pt x="860321" y="821799"/>
                    <a:pt x="820806" y="795944"/>
                  </a:cubicBezTo>
                  <a:cubicBezTo>
                    <a:pt x="738737" y="744235"/>
                    <a:pt x="629311" y="716860"/>
                    <a:pt x="513807" y="716860"/>
                  </a:cubicBezTo>
                  <a:close/>
                  <a:moveTo>
                    <a:pt x="513807" y="628651"/>
                  </a:moveTo>
                  <a:cubicBezTo>
                    <a:pt x="647549" y="628651"/>
                    <a:pt x="772172" y="662109"/>
                    <a:pt x="866400" y="722944"/>
                  </a:cubicBezTo>
                  <a:cubicBezTo>
                    <a:pt x="972786" y="789861"/>
                    <a:pt x="1030538" y="881112"/>
                    <a:pt x="1030538" y="981489"/>
                  </a:cubicBezTo>
                  <a:cubicBezTo>
                    <a:pt x="1030538" y="999739"/>
                    <a:pt x="1020280" y="1016278"/>
                    <a:pt x="1004892" y="1023407"/>
                  </a:cubicBezTo>
                  <a:lnTo>
                    <a:pt x="991374" y="1026371"/>
                  </a:lnTo>
                  <a:lnTo>
                    <a:pt x="981656" y="1030288"/>
                  </a:lnTo>
                  <a:cubicBezTo>
                    <a:pt x="45957" y="1030288"/>
                    <a:pt x="45957" y="1030288"/>
                    <a:pt x="45957" y="1030288"/>
                  </a:cubicBezTo>
                  <a:cubicBezTo>
                    <a:pt x="33805" y="1030288"/>
                    <a:pt x="23172" y="1025696"/>
                    <a:pt x="15577" y="1018042"/>
                  </a:cubicBezTo>
                  <a:lnTo>
                    <a:pt x="14741" y="1015935"/>
                  </a:lnTo>
                  <a:lnTo>
                    <a:pt x="12273" y="1014947"/>
                  </a:lnTo>
                  <a:cubicBezTo>
                    <a:pt x="4674" y="1007343"/>
                    <a:pt x="114" y="996697"/>
                    <a:pt x="114" y="984530"/>
                  </a:cubicBezTo>
                  <a:cubicBezTo>
                    <a:pt x="-2925" y="887195"/>
                    <a:pt x="54828" y="792903"/>
                    <a:pt x="161213" y="722944"/>
                  </a:cubicBezTo>
                  <a:cubicBezTo>
                    <a:pt x="255441" y="662109"/>
                    <a:pt x="380064" y="628651"/>
                    <a:pt x="513807" y="628651"/>
                  </a:cubicBezTo>
                  <a:close/>
                  <a:moveTo>
                    <a:pt x="504281" y="85725"/>
                  </a:moveTo>
                  <a:cubicBezTo>
                    <a:pt x="398632" y="85725"/>
                    <a:pt x="312987" y="171370"/>
                    <a:pt x="312987" y="277019"/>
                  </a:cubicBezTo>
                  <a:cubicBezTo>
                    <a:pt x="312987" y="382668"/>
                    <a:pt x="398632" y="468313"/>
                    <a:pt x="504281" y="468313"/>
                  </a:cubicBezTo>
                  <a:cubicBezTo>
                    <a:pt x="609930" y="468313"/>
                    <a:pt x="695575" y="382668"/>
                    <a:pt x="695575" y="277019"/>
                  </a:cubicBezTo>
                  <a:cubicBezTo>
                    <a:pt x="695575" y="171370"/>
                    <a:pt x="609930" y="85725"/>
                    <a:pt x="504281" y="85725"/>
                  </a:cubicBezTo>
                  <a:close/>
                  <a:moveTo>
                    <a:pt x="506662" y="0"/>
                  </a:moveTo>
                  <a:cubicBezTo>
                    <a:pt x="660094" y="0"/>
                    <a:pt x="784475" y="124381"/>
                    <a:pt x="784475" y="277813"/>
                  </a:cubicBezTo>
                  <a:cubicBezTo>
                    <a:pt x="784475" y="431245"/>
                    <a:pt x="660094" y="555626"/>
                    <a:pt x="506662" y="555626"/>
                  </a:cubicBezTo>
                  <a:cubicBezTo>
                    <a:pt x="353230" y="555626"/>
                    <a:pt x="228849" y="431245"/>
                    <a:pt x="228849" y="277813"/>
                  </a:cubicBezTo>
                  <a:cubicBezTo>
                    <a:pt x="228849" y="124381"/>
                    <a:pt x="353230" y="0"/>
                    <a:pt x="5066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92">
              <a:extLst>
                <a:ext uri="{FF2B5EF4-FFF2-40B4-BE49-F238E27FC236}">
                  <a16:creationId xmlns:a16="http://schemas.microsoft.com/office/drawing/2014/main" id="{B98D85A0-274A-463C-8E24-F4437D491A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70293" y="5415257"/>
              <a:ext cx="170299" cy="169776"/>
            </a:xfrm>
            <a:custGeom>
              <a:avLst/>
              <a:gdLst>
                <a:gd name="connsiteX0" fmla="*/ 516732 w 1033463"/>
                <a:gd name="connsiteY0" fmla="*/ 716860 h 1030288"/>
                <a:gd name="connsiteX1" fmla="*/ 212772 w 1033463"/>
                <a:gd name="connsiteY1" fmla="*/ 795944 h 1030288"/>
                <a:gd name="connsiteX2" fmla="*/ 118544 w 1033463"/>
                <a:gd name="connsiteY2" fmla="*/ 884154 h 1030288"/>
                <a:gd name="connsiteX3" fmla="*/ 99680 w 1033463"/>
                <a:gd name="connsiteY3" fmla="*/ 944563 h 1030288"/>
                <a:gd name="connsiteX4" fmla="*/ 213589 w 1033463"/>
                <a:gd name="connsiteY4" fmla="*/ 944563 h 1030288"/>
                <a:gd name="connsiteX5" fmla="*/ 867619 w 1033463"/>
                <a:gd name="connsiteY5" fmla="*/ 944563 h 1030288"/>
                <a:gd name="connsiteX6" fmla="*/ 933766 w 1033463"/>
                <a:gd name="connsiteY6" fmla="*/ 944563 h 1030288"/>
                <a:gd name="connsiteX7" fmla="*/ 914159 w 1033463"/>
                <a:gd name="connsiteY7" fmla="*/ 881872 h 1030288"/>
                <a:gd name="connsiteX8" fmla="*/ 823731 w 1033463"/>
                <a:gd name="connsiteY8" fmla="*/ 795944 h 1030288"/>
                <a:gd name="connsiteX9" fmla="*/ 516732 w 1033463"/>
                <a:gd name="connsiteY9" fmla="*/ 716860 h 1030288"/>
                <a:gd name="connsiteX10" fmla="*/ 516732 w 1033463"/>
                <a:gd name="connsiteY10" fmla="*/ 628651 h 1030288"/>
                <a:gd name="connsiteX11" fmla="*/ 869325 w 1033463"/>
                <a:gd name="connsiteY11" fmla="*/ 722944 h 1030288"/>
                <a:gd name="connsiteX12" fmla="*/ 1033463 w 1033463"/>
                <a:gd name="connsiteY12" fmla="*/ 981489 h 1030288"/>
                <a:gd name="connsiteX13" fmla="*/ 1019785 w 1033463"/>
                <a:gd name="connsiteY13" fmla="*/ 1013427 h 1030288"/>
                <a:gd name="connsiteX14" fmla="*/ 1015672 w 1033463"/>
                <a:gd name="connsiteY14" fmla="*/ 1016251 h 1030288"/>
                <a:gd name="connsiteX15" fmla="*/ 1014961 w 1033463"/>
                <a:gd name="connsiteY15" fmla="*/ 1018042 h 1030288"/>
                <a:gd name="connsiteX16" fmla="*/ 1010369 w 1033463"/>
                <a:gd name="connsiteY16" fmla="*/ 1019893 h 1030288"/>
                <a:gd name="connsiteX17" fmla="*/ 1005252 w 1033463"/>
                <a:gd name="connsiteY17" fmla="*/ 1023407 h 1030288"/>
                <a:gd name="connsiteX18" fmla="*/ 997607 w 1033463"/>
                <a:gd name="connsiteY18" fmla="*/ 1025038 h 1030288"/>
                <a:gd name="connsiteX19" fmla="*/ 984581 w 1033463"/>
                <a:gd name="connsiteY19" fmla="*/ 1030288 h 1030288"/>
                <a:gd name="connsiteX20" fmla="*/ 48882 w 1033463"/>
                <a:gd name="connsiteY20" fmla="*/ 1030288 h 1030288"/>
                <a:gd name="connsiteX21" fmla="*/ 18502 w 1033463"/>
                <a:gd name="connsiteY21" fmla="*/ 1018042 h 1030288"/>
                <a:gd name="connsiteX22" fmla="*/ 17731 w 1033463"/>
                <a:gd name="connsiteY22" fmla="*/ 1016099 h 1030288"/>
                <a:gd name="connsiteX23" fmla="*/ 14818 w 1033463"/>
                <a:gd name="connsiteY23" fmla="*/ 1014947 h 1030288"/>
                <a:gd name="connsiteX24" fmla="*/ 0 w 1033463"/>
                <a:gd name="connsiteY24" fmla="*/ 984530 h 1030288"/>
                <a:gd name="connsiteX25" fmla="*/ 164138 w 1033463"/>
                <a:gd name="connsiteY25" fmla="*/ 722944 h 1030288"/>
                <a:gd name="connsiteX26" fmla="*/ 516732 w 1033463"/>
                <a:gd name="connsiteY26" fmla="*/ 628651 h 1030288"/>
                <a:gd name="connsiteX27" fmla="*/ 507206 w 1033463"/>
                <a:gd name="connsiteY27" fmla="*/ 85725 h 1030288"/>
                <a:gd name="connsiteX28" fmla="*/ 315912 w 1033463"/>
                <a:gd name="connsiteY28" fmla="*/ 277019 h 1030288"/>
                <a:gd name="connsiteX29" fmla="*/ 507206 w 1033463"/>
                <a:gd name="connsiteY29" fmla="*/ 468313 h 1030288"/>
                <a:gd name="connsiteX30" fmla="*/ 698500 w 1033463"/>
                <a:gd name="connsiteY30" fmla="*/ 277019 h 1030288"/>
                <a:gd name="connsiteX31" fmla="*/ 507206 w 1033463"/>
                <a:gd name="connsiteY31" fmla="*/ 85725 h 1030288"/>
                <a:gd name="connsiteX32" fmla="*/ 506412 w 1033463"/>
                <a:gd name="connsiteY32" fmla="*/ 0 h 1030288"/>
                <a:gd name="connsiteX33" fmla="*/ 784225 w 1033463"/>
                <a:gd name="connsiteY33" fmla="*/ 277813 h 1030288"/>
                <a:gd name="connsiteX34" fmla="*/ 506412 w 1033463"/>
                <a:gd name="connsiteY34" fmla="*/ 555626 h 1030288"/>
                <a:gd name="connsiteX35" fmla="*/ 228599 w 1033463"/>
                <a:gd name="connsiteY35" fmla="*/ 277813 h 1030288"/>
                <a:gd name="connsiteX36" fmla="*/ 506412 w 1033463"/>
                <a:gd name="connsiteY36" fmla="*/ 0 h 1030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33463" h="1030288">
                  <a:moveTo>
                    <a:pt x="516732" y="716860"/>
                  </a:moveTo>
                  <a:cubicBezTo>
                    <a:pt x="398187" y="716860"/>
                    <a:pt x="288762" y="744235"/>
                    <a:pt x="212772" y="795944"/>
                  </a:cubicBezTo>
                  <a:cubicBezTo>
                    <a:pt x="171738" y="821799"/>
                    <a:pt x="139822" y="852216"/>
                    <a:pt x="118544" y="884154"/>
                  </a:cubicBezTo>
                  <a:lnTo>
                    <a:pt x="99680" y="944563"/>
                  </a:lnTo>
                  <a:lnTo>
                    <a:pt x="213589" y="944563"/>
                  </a:lnTo>
                  <a:cubicBezTo>
                    <a:pt x="573385" y="944563"/>
                    <a:pt x="765277" y="944563"/>
                    <a:pt x="867619" y="944563"/>
                  </a:cubicBezTo>
                  <a:lnTo>
                    <a:pt x="933766" y="944563"/>
                  </a:lnTo>
                  <a:lnTo>
                    <a:pt x="914159" y="881872"/>
                  </a:lnTo>
                  <a:cubicBezTo>
                    <a:pt x="893642" y="850695"/>
                    <a:pt x="863246" y="821799"/>
                    <a:pt x="823731" y="795944"/>
                  </a:cubicBezTo>
                  <a:cubicBezTo>
                    <a:pt x="741662" y="744235"/>
                    <a:pt x="632236" y="716860"/>
                    <a:pt x="516732" y="716860"/>
                  </a:cubicBezTo>
                  <a:close/>
                  <a:moveTo>
                    <a:pt x="516732" y="628651"/>
                  </a:moveTo>
                  <a:cubicBezTo>
                    <a:pt x="647434" y="628651"/>
                    <a:pt x="772058" y="662109"/>
                    <a:pt x="869325" y="722944"/>
                  </a:cubicBezTo>
                  <a:cubicBezTo>
                    <a:pt x="972671" y="789861"/>
                    <a:pt x="1033463" y="881112"/>
                    <a:pt x="1033463" y="981489"/>
                  </a:cubicBezTo>
                  <a:cubicBezTo>
                    <a:pt x="1033463" y="993656"/>
                    <a:pt x="1028144" y="1005062"/>
                    <a:pt x="1019785" y="1013427"/>
                  </a:cubicBezTo>
                  <a:lnTo>
                    <a:pt x="1015672" y="1016251"/>
                  </a:lnTo>
                  <a:lnTo>
                    <a:pt x="1014961" y="1018042"/>
                  </a:lnTo>
                  <a:lnTo>
                    <a:pt x="1010369" y="1019893"/>
                  </a:lnTo>
                  <a:lnTo>
                    <a:pt x="1005252" y="1023407"/>
                  </a:lnTo>
                  <a:lnTo>
                    <a:pt x="997607" y="1025038"/>
                  </a:lnTo>
                  <a:lnTo>
                    <a:pt x="984581" y="1030288"/>
                  </a:lnTo>
                  <a:cubicBezTo>
                    <a:pt x="48882" y="1030288"/>
                    <a:pt x="48882" y="1030288"/>
                    <a:pt x="48882" y="1030288"/>
                  </a:cubicBezTo>
                  <a:cubicBezTo>
                    <a:pt x="36730" y="1030288"/>
                    <a:pt x="26097" y="1025696"/>
                    <a:pt x="18502" y="1018042"/>
                  </a:cubicBezTo>
                  <a:lnTo>
                    <a:pt x="17731" y="1016099"/>
                  </a:lnTo>
                  <a:lnTo>
                    <a:pt x="14818" y="1014947"/>
                  </a:lnTo>
                  <a:cubicBezTo>
                    <a:pt x="6839" y="1007343"/>
                    <a:pt x="1520" y="996697"/>
                    <a:pt x="0" y="984530"/>
                  </a:cubicBezTo>
                  <a:cubicBezTo>
                    <a:pt x="0" y="887195"/>
                    <a:pt x="57753" y="792903"/>
                    <a:pt x="164138" y="722944"/>
                  </a:cubicBezTo>
                  <a:cubicBezTo>
                    <a:pt x="255326" y="662109"/>
                    <a:pt x="382989" y="628651"/>
                    <a:pt x="516732" y="628651"/>
                  </a:cubicBezTo>
                  <a:close/>
                  <a:moveTo>
                    <a:pt x="507206" y="85725"/>
                  </a:moveTo>
                  <a:cubicBezTo>
                    <a:pt x="401557" y="85725"/>
                    <a:pt x="315912" y="171370"/>
                    <a:pt x="315912" y="277019"/>
                  </a:cubicBezTo>
                  <a:cubicBezTo>
                    <a:pt x="315912" y="382668"/>
                    <a:pt x="401557" y="468313"/>
                    <a:pt x="507206" y="468313"/>
                  </a:cubicBezTo>
                  <a:cubicBezTo>
                    <a:pt x="612855" y="468313"/>
                    <a:pt x="698500" y="382668"/>
                    <a:pt x="698500" y="277019"/>
                  </a:cubicBezTo>
                  <a:cubicBezTo>
                    <a:pt x="698500" y="171370"/>
                    <a:pt x="612855" y="85725"/>
                    <a:pt x="507206" y="85725"/>
                  </a:cubicBezTo>
                  <a:close/>
                  <a:moveTo>
                    <a:pt x="506412" y="0"/>
                  </a:moveTo>
                  <a:cubicBezTo>
                    <a:pt x="659844" y="0"/>
                    <a:pt x="784225" y="124381"/>
                    <a:pt x="784225" y="277813"/>
                  </a:cubicBezTo>
                  <a:cubicBezTo>
                    <a:pt x="784225" y="431245"/>
                    <a:pt x="659844" y="555626"/>
                    <a:pt x="506412" y="555626"/>
                  </a:cubicBezTo>
                  <a:cubicBezTo>
                    <a:pt x="352980" y="555626"/>
                    <a:pt x="228599" y="431245"/>
                    <a:pt x="228599" y="277813"/>
                  </a:cubicBezTo>
                  <a:cubicBezTo>
                    <a:pt x="228599" y="124381"/>
                    <a:pt x="352980" y="0"/>
                    <a:pt x="5064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94">
              <a:extLst>
                <a:ext uri="{FF2B5EF4-FFF2-40B4-BE49-F238E27FC236}">
                  <a16:creationId xmlns:a16="http://schemas.microsoft.com/office/drawing/2014/main" id="{7306BF4D-9ECB-4A58-981F-69D83A0CAD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48529" y="5241820"/>
              <a:ext cx="379314" cy="166375"/>
            </a:xfrm>
            <a:custGeom>
              <a:avLst/>
              <a:gdLst>
                <a:gd name="connsiteX0" fmla="*/ 315278 w 2301875"/>
                <a:gd name="connsiteY0" fmla="*/ 122238 h 1009651"/>
                <a:gd name="connsiteX1" fmla="*/ 338624 w 2301875"/>
                <a:gd name="connsiteY1" fmla="*/ 231502 h 1009651"/>
                <a:gd name="connsiteX2" fmla="*/ 478900 w 2301875"/>
                <a:gd name="connsiteY2" fmla="*/ 888009 h 1009651"/>
                <a:gd name="connsiteX3" fmla="*/ 1846923 w 2301875"/>
                <a:gd name="connsiteY3" fmla="*/ 888009 h 1009651"/>
                <a:gd name="connsiteX4" fmla="*/ 2011068 w 2301875"/>
                <a:gd name="connsiteY4" fmla="*/ 133269 h 1009651"/>
                <a:gd name="connsiteX5" fmla="*/ 2013467 w 2301875"/>
                <a:gd name="connsiteY5" fmla="*/ 122238 h 1009651"/>
                <a:gd name="connsiteX6" fmla="*/ 1857333 w 2301875"/>
                <a:gd name="connsiteY6" fmla="*/ 122238 h 1009651"/>
                <a:gd name="connsiteX7" fmla="*/ 333286 w 2301875"/>
                <a:gd name="connsiteY7" fmla="*/ 122238 h 1009651"/>
                <a:gd name="connsiteX8" fmla="*/ 60736 w 2301875"/>
                <a:gd name="connsiteY8" fmla="*/ 0 h 1009651"/>
                <a:gd name="connsiteX9" fmla="*/ 2241140 w 2301875"/>
                <a:gd name="connsiteY9" fmla="*/ 0 h 1009651"/>
                <a:gd name="connsiteX10" fmla="*/ 2301875 w 2301875"/>
                <a:gd name="connsiteY10" fmla="*/ 61119 h 1009651"/>
                <a:gd name="connsiteX11" fmla="*/ 2241140 w 2301875"/>
                <a:gd name="connsiteY11" fmla="*/ 122238 h 1009651"/>
                <a:gd name="connsiteX12" fmla="*/ 2137985 w 2301875"/>
                <a:gd name="connsiteY12" fmla="*/ 122238 h 1009651"/>
                <a:gd name="connsiteX13" fmla="*/ 2106661 w 2301875"/>
                <a:gd name="connsiteY13" fmla="*/ 266901 h 1009651"/>
                <a:gd name="connsiteX14" fmla="*/ 1956365 w 2301875"/>
                <a:gd name="connsiteY14" fmla="*/ 960994 h 1009651"/>
                <a:gd name="connsiteX15" fmla="*/ 1898604 w 2301875"/>
                <a:gd name="connsiteY15" fmla="*/ 1009651 h 1009651"/>
                <a:gd name="connsiteX16" fmla="*/ 430259 w 2301875"/>
                <a:gd name="connsiteY16" fmla="*/ 1009651 h 1009651"/>
                <a:gd name="connsiteX17" fmla="*/ 369458 w 2301875"/>
                <a:gd name="connsiteY17" fmla="*/ 960994 h 1009651"/>
                <a:gd name="connsiteX18" fmla="*/ 189905 w 2301875"/>
                <a:gd name="connsiteY18" fmla="*/ 131784 h 1009651"/>
                <a:gd name="connsiteX19" fmla="*/ 187838 w 2301875"/>
                <a:gd name="connsiteY19" fmla="*/ 122238 h 1009651"/>
                <a:gd name="connsiteX20" fmla="*/ 175718 w 2301875"/>
                <a:gd name="connsiteY20" fmla="*/ 122238 h 1009651"/>
                <a:gd name="connsiteX21" fmla="*/ 60736 w 2301875"/>
                <a:gd name="connsiteY21" fmla="*/ 122238 h 1009651"/>
                <a:gd name="connsiteX22" fmla="*/ 0 w 2301875"/>
                <a:gd name="connsiteY22" fmla="*/ 61119 h 1009651"/>
                <a:gd name="connsiteX23" fmla="*/ 60736 w 2301875"/>
                <a:gd name="connsiteY23" fmla="*/ 0 h 1009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01875" h="1009651">
                  <a:moveTo>
                    <a:pt x="315278" y="122238"/>
                  </a:moveTo>
                  <a:lnTo>
                    <a:pt x="338624" y="231502"/>
                  </a:lnTo>
                  <a:cubicBezTo>
                    <a:pt x="478900" y="888009"/>
                    <a:pt x="478900" y="888009"/>
                    <a:pt x="478900" y="888009"/>
                  </a:cubicBezTo>
                  <a:cubicBezTo>
                    <a:pt x="1846923" y="888009"/>
                    <a:pt x="1846923" y="888009"/>
                    <a:pt x="1846923" y="888009"/>
                  </a:cubicBezTo>
                  <a:cubicBezTo>
                    <a:pt x="1955225" y="390036"/>
                    <a:pt x="1995838" y="203296"/>
                    <a:pt x="2011068" y="133269"/>
                  </a:cubicBezTo>
                  <a:lnTo>
                    <a:pt x="2013467" y="122238"/>
                  </a:lnTo>
                  <a:lnTo>
                    <a:pt x="1857333" y="122238"/>
                  </a:lnTo>
                  <a:cubicBezTo>
                    <a:pt x="1018921" y="122238"/>
                    <a:pt x="571768" y="122238"/>
                    <a:pt x="333286" y="122238"/>
                  </a:cubicBezTo>
                  <a:close/>
                  <a:moveTo>
                    <a:pt x="60736" y="0"/>
                  </a:moveTo>
                  <a:cubicBezTo>
                    <a:pt x="2241140" y="0"/>
                    <a:pt x="2241140" y="0"/>
                    <a:pt x="2241140" y="0"/>
                  </a:cubicBezTo>
                  <a:cubicBezTo>
                    <a:pt x="2274544" y="0"/>
                    <a:pt x="2301875" y="27504"/>
                    <a:pt x="2301875" y="61119"/>
                  </a:cubicBezTo>
                  <a:cubicBezTo>
                    <a:pt x="2301875" y="94735"/>
                    <a:pt x="2274544" y="122238"/>
                    <a:pt x="2241140" y="122238"/>
                  </a:cubicBezTo>
                  <a:lnTo>
                    <a:pt x="2137985" y="122238"/>
                  </a:lnTo>
                  <a:lnTo>
                    <a:pt x="2106661" y="266901"/>
                  </a:lnTo>
                  <a:cubicBezTo>
                    <a:pt x="1956365" y="960994"/>
                    <a:pt x="1956365" y="960994"/>
                    <a:pt x="1956365" y="960994"/>
                  </a:cubicBezTo>
                  <a:cubicBezTo>
                    <a:pt x="1950285" y="988364"/>
                    <a:pt x="1925964" y="1009651"/>
                    <a:pt x="1898604" y="1009651"/>
                  </a:cubicBezTo>
                  <a:cubicBezTo>
                    <a:pt x="430259" y="1009651"/>
                    <a:pt x="430259" y="1009651"/>
                    <a:pt x="430259" y="1009651"/>
                  </a:cubicBezTo>
                  <a:cubicBezTo>
                    <a:pt x="402899" y="1009651"/>
                    <a:pt x="375539" y="988364"/>
                    <a:pt x="369458" y="960994"/>
                  </a:cubicBezTo>
                  <a:cubicBezTo>
                    <a:pt x="232656" y="329215"/>
                    <a:pt x="198455" y="171270"/>
                    <a:pt x="189905" y="131784"/>
                  </a:cubicBezTo>
                  <a:lnTo>
                    <a:pt x="187838" y="122238"/>
                  </a:lnTo>
                  <a:lnTo>
                    <a:pt x="175718" y="122238"/>
                  </a:lnTo>
                  <a:cubicBezTo>
                    <a:pt x="60736" y="122238"/>
                    <a:pt x="60736" y="122238"/>
                    <a:pt x="60736" y="122238"/>
                  </a:cubicBezTo>
                  <a:cubicBezTo>
                    <a:pt x="27331" y="122238"/>
                    <a:pt x="0" y="94735"/>
                    <a:pt x="0" y="61119"/>
                  </a:cubicBezTo>
                  <a:cubicBezTo>
                    <a:pt x="0" y="27504"/>
                    <a:pt x="27331" y="0"/>
                    <a:pt x="607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4A96ADB6-5594-4198-A21F-7E8CCBA1E137}"/>
              </a:ext>
            </a:extLst>
          </p:cNvPr>
          <p:cNvSpPr txBox="1">
            <a:spLocks/>
          </p:cNvSpPr>
          <p:nvPr/>
        </p:nvSpPr>
        <p:spPr>
          <a:xfrm>
            <a:off x="975882" y="1772444"/>
            <a:ext cx="2350996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highlight>
                  <a:srgbClr val="FFFF00"/>
                </a:highlight>
                <a:uLnTx/>
                <a:uFillTx/>
                <a:latin typeface="Segoe UI"/>
                <a:ea typeface="+mn-ea"/>
                <a:cs typeface="+mn-cs"/>
              </a:rPr>
              <a:t>Always Move Forw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We move and work quickly. Take risks and be fueled by continually evolving</a:t>
            </a:r>
          </a:p>
        </p:txBody>
      </p:sp>
      <p:sp>
        <p:nvSpPr>
          <p:cNvPr id="76" name="Parallelogram 75">
            <a:extLst>
              <a:ext uri="{FF2B5EF4-FFF2-40B4-BE49-F238E27FC236}">
                <a16:creationId xmlns:a16="http://schemas.microsoft.com/office/drawing/2014/main" id="{4FA9B237-EBAE-4B43-ACE3-8B15C5243C19}"/>
              </a:ext>
            </a:extLst>
          </p:cNvPr>
          <p:cNvSpPr/>
          <p:nvPr/>
        </p:nvSpPr>
        <p:spPr>
          <a:xfrm flipH="1">
            <a:off x="916756" y="1772444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" name="Parallelogram 76">
            <a:extLst>
              <a:ext uri="{FF2B5EF4-FFF2-40B4-BE49-F238E27FC236}">
                <a16:creationId xmlns:a16="http://schemas.microsoft.com/office/drawing/2014/main" id="{17DB4601-C1E3-436D-AAA6-E7DEE4366813}"/>
              </a:ext>
            </a:extLst>
          </p:cNvPr>
          <p:cNvSpPr/>
          <p:nvPr/>
        </p:nvSpPr>
        <p:spPr>
          <a:xfrm flipH="1">
            <a:off x="3554649" y="1772444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" name="Parallelogram 77">
            <a:extLst>
              <a:ext uri="{FF2B5EF4-FFF2-40B4-BE49-F238E27FC236}">
                <a16:creationId xmlns:a16="http://schemas.microsoft.com/office/drawing/2014/main" id="{C6753CF6-D151-40BA-A509-23C98044A824}"/>
              </a:ext>
            </a:extLst>
          </p:cNvPr>
          <p:cNvSpPr/>
          <p:nvPr/>
        </p:nvSpPr>
        <p:spPr>
          <a:xfrm flipH="1">
            <a:off x="6192542" y="1772444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" name="Parallelogram 78">
            <a:extLst>
              <a:ext uri="{FF2B5EF4-FFF2-40B4-BE49-F238E27FC236}">
                <a16:creationId xmlns:a16="http://schemas.microsoft.com/office/drawing/2014/main" id="{7B0705C6-734C-4A79-BB9D-6E58DACD1B02}"/>
              </a:ext>
            </a:extLst>
          </p:cNvPr>
          <p:cNvSpPr/>
          <p:nvPr/>
        </p:nvSpPr>
        <p:spPr>
          <a:xfrm flipH="1">
            <a:off x="8830434" y="1772444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" name="Parallelogram 79">
            <a:extLst>
              <a:ext uri="{FF2B5EF4-FFF2-40B4-BE49-F238E27FC236}">
                <a16:creationId xmlns:a16="http://schemas.microsoft.com/office/drawing/2014/main" id="{23739D9C-16EB-4EB0-8E82-19BB8D25CC62}"/>
              </a:ext>
            </a:extLst>
          </p:cNvPr>
          <p:cNvSpPr/>
          <p:nvPr/>
        </p:nvSpPr>
        <p:spPr>
          <a:xfrm flipH="1">
            <a:off x="916756" y="4035657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" name="Parallelogram 80">
            <a:extLst>
              <a:ext uri="{FF2B5EF4-FFF2-40B4-BE49-F238E27FC236}">
                <a16:creationId xmlns:a16="http://schemas.microsoft.com/office/drawing/2014/main" id="{E6DF972D-B08C-45DF-B3EB-1EE0B18418B1}"/>
              </a:ext>
            </a:extLst>
          </p:cNvPr>
          <p:cNvSpPr/>
          <p:nvPr/>
        </p:nvSpPr>
        <p:spPr>
          <a:xfrm flipH="1">
            <a:off x="3554649" y="4035657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2" name="Parallelogram 81">
            <a:extLst>
              <a:ext uri="{FF2B5EF4-FFF2-40B4-BE49-F238E27FC236}">
                <a16:creationId xmlns:a16="http://schemas.microsoft.com/office/drawing/2014/main" id="{B77B6D6D-908D-40E6-9218-0D75FEA3FC0F}"/>
              </a:ext>
            </a:extLst>
          </p:cNvPr>
          <p:cNvSpPr/>
          <p:nvPr/>
        </p:nvSpPr>
        <p:spPr>
          <a:xfrm flipH="1">
            <a:off x="6192542" y="4035657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" name="Parallelogram 82">
            <a:extLst>
              <a:ext uri="{FF2B5EF4-FFF2-40B4-BE49-F238E27FC236}">
                <a16:creationId xmlns:a16="http://schemas.microsoft.com/office/drawing/2014/main" id="{7292FDA0-7985-4BAA-AB1E-B50F4B21AB6A}"/>
              </a:ext>
            </a:extLst>
          </p:cNvPr>
          <p:cNvSpPr/>
          <p:nvPr/>
        </p:nvSpPr>
        <p:spPr>
          <a:xfrm flipH="1">
            <a:off x="8830434" y="4035657"/>
            <a:ext cx="2008470" cy="53411"/>
          </a:xfrm>
          <a:prstGeom prst="parallelogram">
            <a:avLst>
              <a:gd name="adj" fmla="val 50312"/>
            </a:avLst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47EB2407-AA42-45B6-A80C-2AA7DEB3EF6A}"/>
              </a:ext>
            </a:extLst>
          </p:cNvPr>
          <p:cNvSpPr txBox="1">
            <a:spLocks/>
          </p:cNvSpPr>
          <p:nvPr/>
        </p:nvSpPr>
        <p:spPr>
          <a:xfrm>
            <a:off x="975882" y="4035657"/>
            <a:ext cx="2350996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 Courageous Lead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Take the unpopular stance when the moment calls for it. Don’t be afraid to change direction and take action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9C9A1163-ED5A-4F7F-AA84-08CFC604D1E6}"/>
              </a:ext>
            </a:extLst>
          </p:cNvPr>
          <p:cNvSpPr txBox="1">
            <a:spLocks/>
          </p:cNvSpPr>
          <p:nvPr/>
        </p:nvSpPr>
        <p:spPr>
          <a:xfrm>
            <a:off x="3619772" y="4035657"/>
            <a:ext cx="2425428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 Customer Centr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Think about your customers needs first. Learn from outside perspective. Customers are your first priority in the decisions you make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F6959BD8-0ED1-421B-9EDB-29D053E9DC44}"/>
              </a:ext>
            </a:extLst>
          </p:cNvPr>
          <p:cNvSpPr txBox="1">
            <a:spLocks/>
          </p:cNvSpPr>
          <p:nvPr/>
        </p:nvSpPr>
        <p:spPr>
          <a:xfrm>
            <a:off x="6263662" y="4036489"/>
            <a:ext cx="2350996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ume Best Int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Operate from a position of trust. Seek to understand through direct, respectful communication and action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ECA2F411-42C8-4177-B977-DD97750E5DD5}"/>
              </a:ext>
            </a:extLst>
          </p:cNvPr>
          <p:cNvSpPr txBox="1">
            <a:spLocks/>
          </p:cNvSpPr>
          <p:nvPr/>
        </p:nvSpPr>
        <p:spPr>
          <a:xfrm>
            <a:off x="8907554" y="4029952"/>
            <a:ext cx="2350996" cy="1342196"/>
          </a:xfrm>
          <a:prstGeom prst="rect">
            <a:avLst/>
          </a:prstGeom>
          <a:noFill/>
        </p:spPr>
        <p:txBody>
          <a:bodyPr wrap="square" lIns="0" tIns="9144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0055B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 Firs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E48"/>
                </a:solidFill>
                <a:effectLst/>
                <a:uLnTx/>
                <a:uFillTx/>
                <a:latin typeface="Segoe UI"/>
                <a:ea typeface="+mn-ea"/>
                <a:cs typeface="Segoe UI Light"/>
              </a:rPr>
              <a:t>We are all committed to working, winning and having fun together. Have open and honest communication and hold each other accountable</a:t>
            </a:r>
          </a:p>
        </p:txBody>
      </p:sp>
      <p:sp>
        <p:nvSpPr>
          <p:cNvPr id="54" name="Rectangle: Top Corners Rounded 53">
            <a:extLst>
              <a:ext uri="{FF2B5EF4-FFF2-40B4-BE49-F238E27FC236}">
                <a16:creationId xmlns:a16="http://schemas.microsoft.com/office/drawing/2014/main" id="{2D137F0A-8472-40DD-AB99-000C1B0449CB}"/>
              </a:ext>
            </a:extLst>
          </p:cNvPr>
          <p:cNvSpPr/>
          <p:nvPr/>
        </p:nvSpPr>
        <p:spPr>
          <a:xfrm rot="16200000">
            <a:off x="11541794" y="5483892"/>
            <a:ext cx="452690" cy="8477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95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547059F-C54D-4DEA-84DE-F11BAB351215}"/>
              </a:ext>
            </a:extLst>
          </p:cNvPr>
          <p:cNvSpPr/>
          <p:nvPr/>
        </p:nvSpPr>
        <p:spPr>
          <a:xfrm>
            <a:off x="11415712" y="5745956"/>
            <a:ext cx="323598" cy="323598"/>
          </a:xfrm>
          <a:prstGeom prst="ellipse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25400" algn="ctr" rotWithShape="0">
              <a:prstClr val="black">
                <a:alpha val="26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53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1406CCAF-1734-469C-ABAD-D51247F76305}"/>
              </a:ext>
            </a:extLst>
          </p:cNvPr>
          <p:cNvPicPr>
            <a:picLocks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460702" y="5790946"/>
            <a:ext cx="233618" cy="233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93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290" fill="hold"/>
                                        <p:tgtEl>
                                          <p:spTgt spid="5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3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43EA2-4932-8D93-0D77-C3410D852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915432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45D3A7-A328-54E6-6F05-2B2B452D4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is Load test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0FCDC9-28F7-3D83-31BF-7D65D45AFA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3093476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sz="1600" dirty="0"/>
              <a:t>Load Testing determines a system behaviour under both normal and anticipated peak load condition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600" dirty="0"/>
              <a:t>Simulates real-world usage by multiple users accessing the application simultaneously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sz="1600" dirty="0"/>
              <a:t>It helps to identify the maximum operating capacity of an application as well as any bottlenecks and determine which element is causing degradatio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sz="1600" dirty="0"/>
              <a:t>Example : E-commerce Website , Simulate a high number of users browsing products, adding items to their carts, and checking out simultaneously.</a:t>
            </a:r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2239678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41242B-B419-1957-3D25-5B48BC2F6F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F12124-1BDD-7880-C2B7-4118DB0A1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esting Using JMeter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114CB-C211-1A28-9181-773ACB369B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4124206"/>
          </a:xfrm>
        </p:spPr>
        <p:txBody>
          <a:bodyPr/>
          <a:lstStyle/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Open-source tool for performance testing and load testing.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Why Use JMeter for Load Testing?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IN" sz="1600" dirty="0"/>
              <a:t>Key Features of JMeter:</a:t>
            </a:r>
          </a:p>
          <a:p>
            <a:pPr>
              <a:lnSpc>
                <a:spcPct val="100000"/>
              </a:lnSpc>
            </a:pPr>
            <a:r>
              <a:rPr lang="en-IN" sz="1600" dirty="0"/>
              <a:t>Test Plan Composition: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Thread Groups: Simulates concurrent users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Samplers: Sends requests to servers (HTTP, JDBC, FTP, etc.)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Listeners: Captures and displays test result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IN" sz="1600" dirty="0"/>
              <a:t>Metrics to monitor:  Response time , Throughput and Error rate</a:t>
            </a:r>
          </a:p>
        </p:txBody>
      </p:sp>
    </p:spTree>
    <p:extLst>
      <p:ext uri="{BB962C8B-B14F-4D97-AF65-F5344CB8AC3E}">
        <p14:creationId xmlns:p14="http://schemas.microsoft.com/office/powerpoint/2010/main" val="7273056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FF03A-136F-4100-9D8B-B431DE9CB3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FB634-CD1A-271C-4CAB-F22F57AF7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esting Using Locust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1CEA1-1053-741C-3A2D-D314F178CE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5232202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An open-source load testing tool written in Python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Allows testing of web applications, APIs, and other systems by simulating concurrent user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Prerequisite : Python ,  locust (pip install locust )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Locust Test Script Structur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sks: Define user actions to simulate (e.g., HTTP requests)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skSet: Group related task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User Class: Represents virtual us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eighting: Assign weights to tasks to simulate realistic usage pattern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Run Locust in a master-worker setup for Distributed load testing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>
                <a:cs typeface="Arial"/>
              </a:rPr>
              <a:t>Locust can be run headless, with results saved to csv or html files.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869484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pHVO_9tYAaKaksLhp7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XfiToRg29neM2RRj8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uSiVWQa2Zz6UFEhBo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Title slide">
  <a:themeElements>
    <a:clrScheme name="Valorem Reply Colors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303E48"/>
      </a:accent1>
      <a:accent2>
        <a:srgbClr val="0055B8"/>
      </a:accent2>
      <a:accent3>
        <a:srgbClr val="253746"/>
      </a:accent3>
      <a:accent4>
        <a:srgbClr val="009ADE"/>
      </a:accent4>
      <a:accent5>
        <a:srgbClr val="EFA31B"/>
      </a:accent5>
      <a:accent6>
        <a:srgbClr val="139EAC"/>
      </a:accent6>
      <a:hlink>
        <a:srgbClr val="0055B8"/>
      </a:hlink>
      <a:folHlink>
        <a:srgbClr val="009ADE"/>
      </a:folHlink>
    </a:clrScheme>
    <a:fontScheme name="Valorem Reply New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noFill/>
          <a:headEnd type="triangle"/>
          <a:tailEnd type="none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alorem Reply Template v2" id="{A6C2AA05-B6BC-49B2-8D0B-C585916168F3}" vid="{B51E2C39-EB38-42AC-94F1-64758460A312}"/>
    </a:ext>
  </a:extLst>
</a:theme>
</file>

<file path=ppt/theme/theme2.xml><?xml version="1.0" encoding="utf-8"?>
<a:theme xmlns:a="http://schemas.openxmlformats.org/drawingml/2006/main" name="1_Master Title slide">
  <a:themeElements>
    <a:clrScheme name="Valorem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303E48"/>
      </a:accent1>
      <a:accent2>
        <a:srgbClr val="0055B8"/>
      </a:accent2>
      <a:accent3>
        <a:srgbClr val="253746"/>
      </a:accent3>
      <a:accent4>
        <a:srgbClr val="009ADE"/>
      </a:accent4>
      <a:accent5>
        <a:srgbClr val="EFA31B"/>
      </a:accent5>
      <a:accent6>
        <a:srgbClr val="139EAC"/>
      </a:accent6>
      <a:hlink>
        <a:srgbClr val="0055B8"/>
      </a:hlink>
      <a:folHlink>
        <a:srgbClr val="009ADE"/>
      </a:folHlink>
    </a:clrScheme>
    <a:fontScheme name="Valorem Reply New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noFill/>
          <a:headEnd type="triangle"/>
          <a:tailEnd type="none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6350">
          <a:solidFill>
            <a:schemeClr val="bg1">
              <a:lumMod val="75000"/>
            </a:schemeClr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al PPT Slides" id="{53C99B8C-ADD6-49E3-A703-2A5C16279BE4}" vid="{FCBCA693-2A0E-4E68-9B4F-074E149C554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</TotalTime>
  <Words>468</Words>
  <Application>Microsoft Office PowerPoint</Application>
  <PresentationFormat>Widescreen</PresentationFormat>
  <Paragraphs>48</Paragraphs>
  <Slides>7</Slides>
  <Notes>2</Notes>
  <HiddenSlides>0</HiddenSlides>
  <MMClips>1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Master Title slide</vt:lpstr>
      <vt:lpstr>1_Master Title slide</vt:lpstr>
      <vt:lpstr>Load testing </vt:lpstr>
      <vt:lpstr>Mission Statement</vt:lpstr>
      <vt:lpstr>The Guide</vt:lpstr>
      <vt:lpstr>Introduction</vt:lpstr>
      <vt:lpstr>WHAT is Load testing?</vt:lpstr>
      <vt:lpstr>Load Testing Using JMeter</vt:lpstr>
      <vt:lpstr>Load Testing Using Locu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ada Najeeb</dc:creator>
  <cp:lastModifiedBy>Shada Najeeb</cp:lastModifiedBy>
  <cp:revision>8</cp:revision>
  <dcterms:created xsi:type="dcterms:W3CDTF">2024-11-20T04:05:23Z</dcterms:created>
  <dcterms:modified xsi:type="dcterms:W3CDTF">2024-11-20T12:34:14Z</dcterms:modified>
</cp:coreProperties>
</file>